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3.xml" ContentType="application/vnd.openxmlformats-officedocument.them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7" r:id="rId2"/>
    <p:sldMasterId id="2147483679" r:id="rId3"/>
  </p:sldMasterIdLst>
  <p:notesMasterIdLst>
    <p:notesMasterId r:id="rId40"/>
  </p:notesMasterIdLst>
  <p:handoutMasterIdLst>
    <p:handoutMasterId r:id="rId41"/>
  </p:handoutMasterIdLst>
  <p:sldIdLst>
    <p:sldId id="285" r:id="rId4"/>
    <p:sldId id="319" r:id="rId5"/>
    <p:sldId id="320" r:id="rId6"/>
    <p:sldId id="321" r:id="rId7"/>
    <p:sldId id="322" r:id="rId8"/>
    <p:sldId id="411" r:id="rId9"/>
    <p:sldId id="323" r:id="rId10"/>
    <p:sldId id="412" r:id="rId11"/>
    <p:sldId id="413" r:id="rId12"/>
    <p:sldId id="414" r:id="rId13"/>
    <p:sldId id="415" r:id="rId14"/>
    <p:sldId id="416" r:id="rId15"/>
    <p:sldId id="417" r:id="rId16"/>
    <p:sldId id="419" r:id="rId17"/>
    <p:sldId id="420" r:id="rId18"/>
    <p:sldId id="421" r:id="rId19"/>
    <p:sldId id="418" r:id="rId20"/>
    <p:sldId id="422" r:id="rId21"/>
    <p:sldId id="423" r:id="rId22"/>
    <p:sldId id="425" r:id="rId23"/>
    <p:sldId id="424" r:id="rId24"/>
    <p:sldId id="286" r:id="rId25"/>
    <p:sldId id="316" r:id="rId26"/>
    <p:sldId id="317" r:id="rId27"/>
    <p:sldId id="318" r:id="rId28"/>
    <p:sldId id="271" r:id="rId29"/>
    <p:sldId id="272" r:id="rId30"/>
    <p:sldId id="273" r:id="rId31"/>
    <p:sldId id="310" r:id="rId32"/>
    <p:sldId id="304" r:id="rId33"/>
    <p:sldId id="311" r:id="rId34"/>
    <p:sldId id="312" r:id="rId35"/>
    <p:sldId id="313" r:id="rId36"/>
    <p:sldId id="314" r:id="rId37"/>
    <p:sldId id="308" r:id="rId38"/>
    <p:sldId id="315" r:id="rId39"/>
  </p:sldIdLst>
  <p:sldSz cx="12193588" cy="6858000"/>
  <p:notesSz cx="7559675" cy="10691813"/>
  <p:custDataLst>
    <p:tags r:id="rId42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aster Folien" id="{BA370EFF-9A8D-4C93-A91E-E91B27CE810A}">
          <p14:sldIdLst>
            <p14:sldId id="285"/>
            <p14:sldId id="319"/>
            <p14:sldId id="320"/>
            <p14:sldId id="321"/>
            <p14:sldId id="322"/>
            <p14:sldId id="411"/>
            <p14:sldId id="323"/>
            <p14:sldId id="412"/>
            <p14:sldId id="413"/>
            <p14:sldId id="414"/>
            <p14:sldId id="415"/>
            <p14:sldId id="416"/>
            <p14:sldId id="417"/>
            <p14:sldId id="419"/>
            <p14:sldId id="420"/>
            <p14:sldId id="421"/>
            <p14:sldId id="418"/>
            <p14:sldId id="422"/>
            <p14:sldId id="423"/>
            <p14:sldId id="425"/>
            <p14:sldId id="424"/>
            <p14:sldId id="286"/>
            <p14:sldId id="316"/>
            <p14:sldId id="317"/>
            <p14:sldId id="318"/>
            <p14:sldId id="271"/>
            <p14:sldId id="272"/>
            <p14:sldId id="273"/>
            <p14:sldId id="310"/>
            <p14:sldId id="304"/>
            <p14:sldId id="311"/>
            <p14:sldId id="312"/>
            <p14:sldId id="313"/>
            <p14:sldId id="314"/>
            <p14:sldId id="308"/>
            <p14:sldId id="315"/>
          </p14:sldIdLst>
        </p14:section>
        <p14:section name="Weitere Folien" id="{DB60F583-B12D-4121-8BAE-4EFC26CACC81}">
          <p14:sldIdLst/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D8748"/>
    <a:srgbClr val="660E7A"/>
    <a:srgbClr val="010180"/>
    <a:srgbClr val="85850C"/>
    <a:srgbClr val="000000"/>
    <a:srgbClr val="3C3C3C"/>
    <a:srgbClr val="A08570"/>
    <a:srgbClr val="E4E3DF"/>
    <a:srgbClr val="48323E"/>
    <a:srgbClr val="D3C9C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024" autoAdjust="0"/>
    <p:restoredTop sz="96483" autoAdjust="0"/>
  </p:normalViewPr>
  <p:slideViewPr>
    <p:cSldViewPr snapToGrid="0" snapToObjects="1" showGuides="1">
      <p:cViewPr varScale="1">
        <p:scale>
          <a:sx n="117" d="100"/>
          <a:sy n="117" d="100"/>
        </p:scale>
        <p:origin x="88" y="180"/>
      </p:cViewPr>
      <p:guideLst/>
    </p:cSldViewPr>
  </p:slideViewPr>
  <p:outlineViewPr>
    <p:cViewPr>
      <p:scale>
        <a:sx n="33" d="100"/>
        <a:sy n="33" d="100"/>
      </p:scale>
      <p:origin x="0" y="-1048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2016"/>
    </p:cViewPr>
  </p:sorterViewPr>
  <p:notesViewPr>
    <p:cSldViewPr snapToGrid="0" snapToObjects="1">
      <p:cViewPr varScale="1">
        <p:scale>
          <a:sx n="76" d="100"/>
          <a:sy n="76" d="100"/>
        </p:scale>
        <p:origin x="3900" y="7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slide" Target="slides/slide36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tags" Target="tags/tag1.xml"/><Relationship Id="rId7" Type="http://schemas.openxmlformats.org/officeDocument/2006/relationships/slide" Target="slides/slide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9" Type="http://schemas.openxmlformats.org/officeDocument/2006/relationships/slide" Target="slides/slide2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notesMaster" Target="notesMasters/notesMaster1.xml"/><Relationship Id="rId45" Type="http://schemas.openxmlformats.org/officeDocument/2006/relationships/theme" Target="theme/theme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4" Type="http://schemas.openxmlformats.org/officeDocument/2006/relationships/viewProps" Target="view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presProps" Target="presProps.xml"/><Relationship Id="rId8" Type="http://schemas.openxmlformats.org/officeDocument/2006/relationships/slide" Target="slides/slide5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tableStyles" Target="tableStyles.xml"/><Relationship Id="rId20" Type="http://schemas.openxmlformats.org/officeDocument/2006/relationships/slide" Target="slides/slide17.xml"/><Relationship Id="rId41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noFill/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DCD808BD-3A87-4FB1-8C92-7568F36AF77A}"/>
              </a:ext>
            </a:extLst>
          </p:cNvPr>
          <p:cNvSpPr txBox="1">
            <a:spLocks noGrp="1"/>
          </p:cNvSpPr>
          <p:nvPr>
            <p:ph type="hdr" sz="quarter"/>
          </p:nvPr>
        </p:nvSpPr>
        <p:spPr>
          <a:xfrm>
            <a:off x="0" y="0"/>
            <a:ext cx="3280680" cy="534240"/>
          </a:xfrm>
          <a:prstGeom prst="rect">
            <a:avLst/>
          </a:prstGeom>
          <a:noFill/>
          <a:ln>
            <a:noFill/>
          </a:ln>
        </p:spPr>
        <p:txBody>
          <a:bodyPr vert="horz" lIns="90000" tIns="45000" rIns="90000" bIns="4500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sz="1400"/>
            </a:pPr>
            <a:endParaRPr lang="de-DE" sz="14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E2ABE4B-4B6F-439D-858C-380578034C2C}"/>
              </a:ext>
            </a:extLst>
          </p:cNvPr>
          <p:cNvSpPr txBox="1">
            <a:spLocks noGrp="1"/>
          </p:cNvSpPr>
          <p:nvPr>
            <p:ph type="dt" sz="quarter" idx="1"/>
          </p:nvPr>
        </p:nvSpPr>
        <p:spPr>
          <a:xfrm>
            <a:off x="4278960" y="0"/>
            <a:ext cx="3280680" cy="534240"/>
          </a:xfrm>
          <a:prstGeom prst="rect">
            <a:avLst/>
          </a:prstGeom>
          <a:noFill/>
          <a:ln>
            <a:noFill/>
          </a:ln>
        </p:spPr>
        <p:txBody>
          <a:bodyPr vert="horz" lIns="90000" tIns="45000" rIns="90000" bIns="45000" compatLnSpc="1">
            <a:noAutofit/>
          </a:bodyPr>
          <a:lstStyle/>
          <a:p>
            <a:pPr marL="0" marR="0" lvl="0" indent="0" algn="r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sz="1400"/>
            </a:pPr>
            <a:endParaRPr lang="de-DE" sz="14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A32335C-B6EF-4E53-B1EC-53BDF719DC0D}"/>
              </a:ext>
            </a:extLst>
          </p:cNvPr>
          <p:cNvSpPr txBox="1">
            <a:spLocks noGrp="1"/>
          </p:cNvSpPr>
          <p:nvPr>
            <p:ph type="ftr" sz="quarter" idx="2"/>
          </p:nvPr>
        </p:nvSpPr>
        <p:spPr>
          <a:xfrm>
            <a:off x="0" y="10157400"/>
            <a:ext cx="3280680" cy="534240"/>
          </a:xfrm>
          <a:prstGeom prst="rect">
            <a:avLst/>
          </a:prstGeom>
          <a:noFill/>
          <a:ln>
            <a:noFill/>
          </a:ln>
        </p:spPr>
        <p:txBody>
          <a:bodyPr vert="horz" lIns="90000" tIns="45000" rIns="90000" bIns="45000" anchor="b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sz="1400"/>
            </a:pPr>
            <a:endParaRPr lang="de-DE" sz="14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6E1656-EF6C-4EBC-A18C-AB04D7BA6929}"/>
              </a:ext>
            </a:extLst>
          </p:cNvPr>
          <p:cNvSpPr txBox="1">
            <a:spLocks noGrp="1"/>
          </p:cNvSpPr>
          <p:nvPr>
            <p:ph type="sldNum" sz="quarter" idx="3"/>
          </p:nvPr>
        </p:nvSpPr>
        <p:spPr>
          <a:xfrm>
            <a:off x="4278960" y="10157400"/>
            <a:ext cx="3280680" cy="534240"/>
          </a:xfrm>
          <a:prstGeom prst="rect">
            <a:avLst/>
          </a:prstGeom>
          <a:noFill/>
          <a:ln>
            <a:noFill/>
          </a:ln>
        </p:spPr>
        <p:txBody>
          <a:bodyPr vert="horz" lIns="90000" tIns="45000" rIns="90000" bIns="45000" anchor="b" compatLnSpc="1">
            <a:noAutofit/>
          </a:bodyPr>
          <a:lstStyle/>
          <a:p>
            <a:pPr marL="0" marR="0" lvl="0" indent="0" algn="r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sz="1400"/>
            </a:pPr>
            <a:fld id="{150629FE-4BFD-4F00-BF85-38DE1BF02178}" type="slidenum">
              <a:t>‹#›</a:t>
            </a:fld>
            <a:endParaRPr lang="de-DE" sz="14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</p:spTree>
    <p:extLst>
      <p:ext uri="{BB962C8B-B14F-4D97-AF65-F5344CB8AC3E}">
        <p14:creationId xmlns:p14="http://schemas.microsoft.com/office/powerpoint/2010/main" val="159975716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1A08103F-5E62-4C14-B403-CCA08D9B8341}"/>
              </a:ext>
            </a:extLst>
          </p:cNvPr>
          <p:cNvSpPr>
            <a:spLocks noMove="1" noResize="1"/>
          </p:cNvSpPr>
          <p:nvPr/>
        </p:nvSpPr>
        <p:spPr>
          <a:xfrm>
            <a:off x="0" y="0"/>
            <a:ext cx="7560000" cy="10692000"/>
          </a:xfrm>
          <a:prstGeom prst="rect">
            <a:avLst/>
          </a:prstGeom>
          <a:solidFill>
            <a:srgbClr val="FFFFFF"/>
          </a:solidFill>
          <a:ln>
            <a:noFill/>
            <a:prstDash val="solid"/>
          </a:ln>
        </p:spPr>
        <p:txBody>
          <a:bodyPr vert="horz" lIns="90000" tIns="45000" rIns="90000" bIns="45000" anchor="ctr" anchorCtr="1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3" name="Folienbildplatzhalter 2">
            <a:extLst>
              <a:ext uri="{FF2B5EF4-FFF2-40B4-BE49-F238E27FC236}">
                <a16:creationId xmlns:a16="http://schemas.microsoft.com/office/drawing/2014/main" id="{10D0D9F1-BA97-41FD-843C-E98805F70A8A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106280" y="812880"/>
            <a:ext cx="5343480" cy="4007159"/>
          </a:xfrm>
          <a:prstGeom prst="rect">
            <a:avLst/>
          </a:prstGeom>
          <a:noFill/>
          <a:ln>
            <a:noFill/>
            <a:prstDash val="solid"/>
          </a:ln>
        </p:spPr>
      </p:sp>
      <p:sp>
        <p:nvSpPr>
          <p:cNvPr id="4" name="Notizenplatzhalter 3">
            <a:extLst>
              <a:ext uri="{FF2B5EF4-FFF2-40B4-BE49-F238E27FC236}">
                <a16:creationId xmlns:a16="http://schemas.microsoft.com/office/drawing/2014/main" id="{5961034C-7FA1-4927-BF73-8754AA0AA2FE}"/>
              </a:ext>
            </a:extLst>
          </p:cNvPr>
          <p:cNvSpPr txBox="1">
            <a:spLocks noGrp="1"/>
          </p:cNvSpPr>
          <p:nvPr>
            <p:ph type="body" sz="quarter" idx="3"/>
          </p:nvPr>
        </p:nvSpPr>
        <p:spPr>
          <a:xfrm>
            <a:off x="755280" y="5078160"/>
            <a:ext cx="6046920" cy="4810320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compatLnSpc="1"/>
          <a:lstStyle/>
          <a:p>
            <a:endParaRPr lang="de-DE"/>
          </a:p>
        </p:txBody>
      </p:sp>
      <p:sp>
        <p:nvSpPr>
          <p:cNvPr id="5" name="Kopfzeilenplatzhalter 4">
            <a:extLst>
              <a:ext uri="{FF2B5EF4-FFF2-40B4-BE49-F238E27FC236}">
                <a16:creationId xmlns:a16="http://schemas.microsoft.com/office/drawing/2014/main" id="{A333E28B-0DD3-4986-AD43-2CC37FCEAD05}"/>
              </a:ext>
            </a:extLst>
          </p:cNvPr>
          <p:cNvSpPr txBox="1">
            <a:spLocks noGrp="1"/>
          </p:cNvSpPr>
          <p:nvPr>
            <p:ph type="hdr" sz="quarter"/>
          </p:nvPr>
        </p:nvSpPr>
        <p:spPr>
          <a:xfrm>
            <a:off x="0" y="0"/>
            <a:ext cx="3279600" cy="53388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noAutofit/>
          </a:bodyPr>
          <a:lstStyle>
            <a:lvl1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1400" b="0" i="0" u="none" strike="noStrike" baseline="0">
                <a:solidFill>
                  <a:srgbClr val="000000"/>
                </a:solidFill>
                <a:latin typeface="Times New Roman" pitchFamily="18"/>
                <a:ea typeface="DejaVu Sans" pitchFamily="18"/>
                <a:cs typeface="DejaVu Sans" pitchFamily="18"/>
              </a:defRPr>
            </a:lvl1pPr>
          </a:lstStyle>
          <a:p>
            <a:pPr lvl="0"/>
            <a:endParaRPr lang="de-DE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DED157B0-714D-4045-B183-0452B3DBD04E}"/>
              </a:ext>
            </a:extLst>
          </p:cNvPr>
          <p:cNvSpPr txBox="1">
            <a:spLocks noGrp="1"/>
          </p:cNvSpPr>
          <p:nvPr>
            <p:ph type="dt" idx="1"/>
          </p:nvPr>
        </p:nvSpPr>
        <p:spPr>
          <a:xfrm>
            <a:off x="4277880" y="0"/>
            <a:ext cx="3279959" cy="53388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noAutofit/>
          </a:bodyPr>
          <a:lstStyle>
            <a:lvl1pPr marL="0" marR="0" lvl="0" indent="0" algn="r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1400" b="0" i="0" u="none" strike="noStrike" baseline="0">
                <a:solidFill>
                  <a:srgbClr val="000000"/>
                </a:solidFill>
                <a:latin typeface="Times New Roman" pitchFamily="18"/>
                <a:ea typeface="DejaVu Sans" pitchFamily="18"/>
                <a:cs typeface="DejaVu Sans" pitchFamily="18"/>
              </a:defRPr>
            </a:lvl1pPr>
          </a:lstStyle>
          <a:p>
            <a:pPr lvl="0"/>
            <a:endParaRPr lang="de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9CC2B38F-485D-484A-BA02-69908CB7159B}"/>
              </a:ext>
            </a:extLst>
          </p:cNvPr>
          <p:cNvSpPr txBox="1">
            <a:spLocks noGrp="1"/>
          </p:cNvSpPr>
          <p:nvPr>
            <p:ph type="ftr" sz="quarter" idx="4"/>
          </p:nvPr>
        </p:nvSpPr>
        <p:spPr>
          <a:xfrm>
            <a:off x="0" y="10156320"/>
            <a:ext cx="3279600" cy="53388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b" anchorCtr="0" compatLnSpc="1">
            <a:noAutofit/>
          </a:bodyPr>
          <a:lstStyle>
            <a:lvl1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1400" b="0" i="0" u="none" strike="noStrike" baseline="0">
                <a:solidFill>
                  <a:srgbClr val="000000"/>
                </a:solidFill>
                <a:latin typeface="Times New Roman" pitchFamily="18"/>
                <a:ea typeface="DejaVu Sans" pitchFamily="18"/>
                <a:cs typeface="DejaVu Sans" pitchFamily="18"/>
              </a:defRPr>
            </a:lvl1pPr>
          </a:lstStyle>
          <a:p>
            <a:pPr lvl="0"/>
            <a:endParaRPr lang="de-DE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CC484B26-C5E7-44B8-8CF9-8E8C00D8106E}"/>
              </a:ext>
            </a:extLst>
          </p:cNvPr>
          <p:cNvSpPr txBox="1">
            <a:spLocks noGrp="1"/>
          </p:cNvSpPr>
          <p:nvPr>
            <p:ph type="sldNum" sz="quarter" idx="5"/>
          </p:nvPr>
        </p:nvSpPr>
        <p:spPr>
          <a:xfrm>
            <a:off x="4277880" y="10156320"/>
            <a:ext cx="3279959" cy="53388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b" anchorCtr="0" compatLnSpc="1">
            <a:noAutofit/>
          </a:bodyPr>
          <a:lstStyle>
            <a:lvl1pPr marL="0" marR="0" lvl="0" indent="0" algn="r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1400" b="0" i="0" u="none" strike="noStrike" baseline="0">
                <a:solidFill>
                  <a:srgbClr val="000000"/>
                </a:solidFill>
                <a:latin typeface="Times New Roman" pitchFamily="18"/>
                <a:ea typeface="DejaVu Sans" pitchFamily="18"/>
                <a:cs typeface="DejaVu Sans" pitchFamily="18"/>
              </a:defRPr>
            </a:lvl1pPr>
          </a:lstStyle>
          <a:p>
            <a:pPr lvl="0"/>
            <a:fld id="{6C164411-04B2-4615-9FCF-D4F73F357CF9}" type="slidenum"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49198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marR="0" indent="0" algn="l" rtl="0" hangingPunct="0">
      <a:lnSpc>
        <a:spcPct val="100000"/>
      </a:lnSpc>
      <a:spcBef>
        <a:spcPts val="448"/>
      </a:spcBef>
      <a:spcAft>
        <a:spcPts val="0"/>
      </a:spcAft>
      <a:tabLst>
        <a:tab pos="0" algn="l"/>
        <a:tab pos="448919" algn="l"/>
        <a:tab pos="898199" algn="l"/>
        <a:tab pos="1347480" algn="l"/>
        <a:tab pos="1796760" algn="l"/>
        <a:tab pos="2246040" algn="l"/>
        <a:tab pos="2695320" algn="l"/>
        <a:tab pos="3144600" algn="l"/>
        <a:tab pos="3593880" algn="l"/>
        <a:tab pos="4043159" algn="l"/>
        <a:tab pos="4492440" algn="l"/>
        <a:tab pos="4941719" algn="l"/>
        <a:tab pos="5391000" algn="l"/>
        <a:tab pos="5840280" algn="l"/>
        <a:tab pos="6289560" algn="l"/>
        <a:tab pos="6738840" algn="l"/>
        <a:tab pos="7188120" algn="l"/>
        <a:tab pos="7637400" algn="l"/>
        <a:tab pos="8086679" algn="l"/>
        <a:tab pos="8535960" algn="l"/>
        <a:tab pos="8985240" algn="l"/>
      </a:tabLst>
      <a:defRPr lang="de-DE" sz="1200" b="0" i="0" u="none" strike="noStrike" baseline="0">
        <a:ln>
          <a:noFill/>
        </a:ln>
        <a:solidFill>
          <a:srgbClr val="000000"/>
        </a:solidFill>
        <a:latin typeface="Times New Roman" pitchFamily="18"/>
        <a:cs typeface="Helvetica" pitchFamily="2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7488" y="812800"/>
            <a:ext cx="7121525" cy="40068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E02C737-050F-4F42-8CC6-413F84C42CD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0974476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7488" y="812800"/>
            <a:ext cx="7121525" cy="40068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arge classes, methods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E02C737-050F-4F42-8CC6-413F84C42CD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2600633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7488" y="812800"/>
            <a:ext cx="7121525" cy="40068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ots of state, little functional decomposition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E02C737-050F-4F42-8CC6-413F84C42CD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1899819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7488" y="812800"/>
            <a:ext cx="7121525" cy="40068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</p:spPr>
        <p:txBody>
          <a:bodyPr/>
          <a:lstStyle/>
          <a:p>
            <a:r>
              <a:rPr lang="en-US" dirty="0"/>
              <a:t>Many / bad dependencies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E02C737-050F-4F42-8CC6-413F84C42CD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3864847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7488" y="812800"/>
            <a:ext cx="7121525" cy="40068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appropriate abstractions</a:t>
            </a:r>
          </a:p>
          <a:p>
            <a:r>
              <a:rPr lang="en-US" dirty="0"/>
              <a:t>  Too little abstraction</a:t>
            </a:r>
          </a:p>
          <a:p>
            <a:r>
              <a:rPr lang="en-US" dirty="0"/>
              <a:t>  Bad abstractions</a:t>
            </a:r>
          </a:p>
          <a:p>
            <a:r>
              <a:rPr lang="en-US" dirty="0"/>
              <a:t>  Too much abstraction(?)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E02C737-050F-4F42-8CC6-413F84C42CD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3414526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7488" y="812800"/>
            <a:ext cx="7121525" cy="40068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ependence on insufficiently tested components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E02C737-050F-4F42-8CC6-413F84C42CD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8221828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E02C737-050F-4F42-8CC6-413F84C42CD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2848743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7488" y="812800"/>
            <a:ext cx="7121525" cy="40068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E02C737-050F-4F42-8CC6-413F84C42CD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7177486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7488" y="812800"/>
            <a:ext cx="7121525" cy="40068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arge classes, methods</a:t>
            </a:r>
          </a:p>
          <a:p>
            <a:r>
              <a:rPr lang="en-US" dirty="0"/>
              <a:t>Lots of state, little functional decomposition</a:t>
            </a:r>
          </a:p>
          <a:p>
            <a:r>
              <a:rPr lang="en-US" dirty="0"/>
              <a:t>Many dependencies</a:t>
            </a:r>
          </a:p>
          <a:p>
            <a:r>
              <a:rPr lang="en-US" dirty="0"/>
              <a:t>Inappropriate abstractions</a:t>
            </a:r>
          </a:p>
          <a:p>
            <a:r>
              <a:rPr lang="en-US" dirty="0"/>
              <a:t>  Too little abstraction</a:t>
            </a:r>
          </a:p>
          <a:p>
            <a:r>
              <a:rPr lang="en-US" dirty="0"/>
              <a:t>  Bad abstractions</a:t>
            </a:r>
          </a:p>
          <a:p>
            <a:r>
              <a:rPr lang="en-US" dirty="0"/>
              <a:t>  Too much abstraction(?)</a:t>
            </a:r>
          </a:p>
          <a:p>
            <a:r>
              <a:rPr lang="en-US" dirty="0"/>
              <a:t>Dependence on insufficiently tested components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E02C737-050F-4F42-8CC6-413F84C42CD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3019903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4.xml"/><Relationship Id="rId7" Type="http://schemas.openxmlformats.org/officeDocument/2006/relationships/image" Target="../media/image3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image" Target="../media/image2.png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7" Type="http://schemas.openxmlformats.org/officeDocument/2006/relationships/image" Target="../media/image6.png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2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29.xml"/><Relationship Id="rId7" Type="http://schemas.openxmlformats.org/officeDocument/2006/relationships/image" Target="../media/image3.jpeg"/><Relationship Id="rId2" Type="http://schemas.openxmlformats.org/officeDocument/2006/relationships/tags" Target="../tags/tag28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7" Type="http://schemas.openxmlformats.org/officeDocument/2006/relationships/image" Target="../media/image2.png"/><Relationship Id="rId2" Type="http://schemas.openxmlformats.org/officeDocument/2006/relationships/tags" Target="../tags/tag30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7" Type="http://schemas.openxmlformats.org/officeDocument/2006/relationships/image" Target="../media/image2.png"/><Relationship Id="rId2" Type="http://schemas.openxmlformats.org/officeDocument/2006/relationships/tags" Target="../tags/tag32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2" Type="http://schemas.openxmlformats.org/officeDocument/2006/relationships/tags" Target="../tags/tag34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37.xml"/><Relationship Id="rId7" Type="http://schemas.openxmlformats.org/officeDocument/2006/relationships/image" Target="../media/image5.jpg"/><Relationship Id="rId2" Type="http://schemas.openxmlformats.org/officeDocument/2006/relationships/tags" Target="../tags/tag36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2.pn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7" Type="http://schemas.openxmlformats.org/officeDocument/2006/relationships/image" Target="../media/image2.png"/><Relationship Id="rId2" Type="http://schemas.openxmlformats.org/officeDocument/2006/relationships/tags" Target="../tags/tag40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7" Type="http://schemas.openxmlformats.org/officeDocument/2006/relationships/image" Target="../media/image2.png"/><Relationship Id="rId2" Type="http://schemas.openxmlformats.org/officeDocument/2006/relationships/tags" Target="../tags/tag4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47.xml"/><Relationship Id="rId7" Type="http://schemas.openxmlformats.org/officeDocument/2006/relationships/image" Target="../media/image7.jpeg"/><Relationship Id="rId2" Type="http://schemas.openxmlformats.org/officeDocument/2006/relationships/tags" Target="../tags/tag46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7" Type="http://schemas.openxmlformats.org/officeDocument/2006/relationships/image" Target="../media/image8.jpeg"/><Relationship Id="rId2" Type="http://schemas.openxmlformats.org/officeDocument/2006/relationships/tags" Target="../tags/tag48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7" Type="http://schemas.openxmlformats.org/officeDocument/2006/relationships/image" Target="../media/image6.png"/><Relationship Id="rId2" Type="http://schemas.openxmlformats.org/officeDocument/2006/relationships/tags" Target="../tags/tag50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7" Type="http://schemas.openxmlformats.org/officeDocument/2006/relationships/image" Target="../media/image2.png"/><Relationship Id="rId2" Type="http://schemas.openxmlformats.org/officeDocument/2006/relationships/tags" Target="../tags/tag52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7.bin"/><Relationship Id="rId4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0.xml"/><Relationship Id="rId7" Type="http://schemas.openxmlformats.org/officeDocument/2006/relationships/image" Target="../media/image5.jpg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2.png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image" Target="../media/image2.png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14543A6-537F-4089-9A3E-E7BD17CFC5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995181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8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EC58F9BB-37A4-4F8E-ACE4-B023CD458C2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60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E8D1866-871B-43A1-AE2E-1D87994570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7088" b="11906"/>
          <a:stretch/>
        </p:blipFill>
        <p:spPr>
          <a:xfrm>
            <a:off x="3413" y="330369"/>
            <a:ext cx="12188952" cy="6527631"/>
          </a:xfrm>
          <a:prstGeom prst="rect">
            <a:avLst/>
          </a:prstGeom>
        </p:spPr>
      </p:pic>
      <p:sp>
        <p:nvSpPr>
          <p:cNvPr id="11" name="Freihandform: Form 2">
            <a:extLst>
              <a:ext uri="{FF2B5EF4-FFF2-40B4-BE49-F238E27FC236}">
                <a16:creationId xmlns:a16="http://schemas.microsoft.com/office/drawing/2014/main" id="{59723EE7-2D9E-40C5-9DB4-01066F2C69FB}"/>
              </a:ext>
            </a:extLst>
          </p:cNvPr>
          <p:cNvSpPr/>
          <p:nvPr userDrawn="1"/>
        </p:nvSpPr>
        <p:spPr>
          <a:xfrm>
            <a:off x="0" y="-1"/>
            <a:ext cx="12193559" cy="2801073"/>
          </a:xfrm>
          <a:custGeom>
            <a:avLst>
              <a:gd name="f0" fmla="val 13"/>
            </a:avLst>
            <a:gdLst>
              <a:gd name="f1" fmla="val 10800000"/>
              <a:gd name="f2" fmla="val 5400000"/>
              <a:gd name="f3" fmla="val 1620000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val 45"/>
              <a:gd name="f10" fmla="val 10800"/>
              <a:gd name="f11" fmla="val -2147483647"/>
              <a:gd name="f12" fmla="val 2147483647"/>
              <a:gd name="f13" fmla="abs f4"/>
              <a:gd name="f14" fmla="abs f5"/>
              <a:gd name="f15" fmla="abs f6"/>
              <a:gd name="f16" fmla="*/ f8 1 180"/>
              <a:gd name="f17" fmla="pin 0 f0 10800"/>
              <a:gd name="f18" fmla="+- 0 0 f2"/>
              <a:gd name="f19" fmla="?: f13 f4 1"/>
              <a:gd name="f20" fmla="?: f14 f5 1"/>
              <a:gd name="f21" fmla="?: f15 f6 1"/>
              <a:gd name="f22" fmla="*/ f9 f16 1"/>
              <a:gd name="f23" fmla="+- f7 f17 0"/>
              <a:gd name="f24" fmla="*/ f19 1 21600"/>
              <a:gd name="f25" fmla="*/ f20 1 21600"/>
              <a:gd name="f26" fmla="*/ 21600 f19 1"/>
              <a:gd name="f27" fmla="*/ 21600 f20 1"/>
              <a:gd name="f28" fmla="+- 0 0 f22"/>
              <a:gd name="f29" fmla="min f25 f24"/>
              <a:gd name="f30" fmla="*/ f26 1 f21"/>
              <a:gd name="f31" fmla="*/ f27 1 f21"/>
              <a:gd name="f32" fmla="*/ f28 f1 1"/>
              <a:gd name="f33" fmla="*/ f32 1 f8"/>
              <a:gd name="f34" fmla="+- f31 0 f17"/>
              <a:gd name="f35" fmla="+- f30 0 f17"/>
              <a:gd name="f36" fmla="*/ f17 f29 1"/>
              <a:gd name="f37" fmla="*/ f7 f29 1"/>
              <a:gd name="f38" fmla="*/ f23 f29 1"/>
              <a:gd name="f39" fmla="*/ f31 f29 1"/>
              <a:gd name="f40" fmla="*/ f30 f29 1"/>
              <a:gd name="f41" fmla="+- f33 0 f2"/>
              <a:gd name="f42" fmla="+- f37 0 f38"/>
              <a:gd name="f43" fmla="+- f38 0 f37"/>
              <a:gd name="f44" fmla="*/ f34 f29 1"/>
              <a:gd name="f45" fmla="*/ f35 f29 1"/>
              <a:gd name="f46" fmla="cos 1 f41"/>
              <a:gd name="f47" fmla="abs f42"/>
              <a:gd name="f48" fmla="abs f43"/>
              <a:gd name="f49" fmla="?: f42 f18 f2"/>
              <a:gd name="f50" fmla="?: f42 f2 f18"/>
              <a:gd name="f51" fmla="?: f42 f3 f2"/>
              <a:gd name="f52" fmla="?: f42 f2 f3"/>
              <a:gd name="f53" fmla="+- f39 0 f44"/>
              <a:gd name="f54" fmla="?: f43 f18 f2"/>
              <a:gd name="f55" fmla="?: f43 f2 f18"/>
              <a:gd name="f56" fmla="+- f40 0 f45"/>
              <a:gd name="f57" fmla="+- f44 0 f39"/>
              <a:gd name="f58" fmla="+- f45 0 f40"/>
              <a:gd name="f59" fmla="?: f42 0 f1"/>
              <a:gd name="f60" fmla="?: f42 f1 0"/>
              <a:gd name="f61" fmla="+- 0 0 f46"/>
              <a:gd name="f62" fmla="?: f42 f52 f51"/>
              <a:gd name="f63" fmla="?: f42 f51 f52"/>
              <a:gd name="f64" fmla="?: f43 f50 f49"/>
              <a:gd name="f65" fmla="abs f53"/>
              <a:gd name="f66" fmla="?: f53 0 f1"/>
              <a:gd name="f67" fmla="?: f53 f1 0"/>
              <a:gd name="f68" fmla="?: f53 f54 f55"/>
              <a:gd name="f69" fmla="abs f56"/>
              <a:gd name="f70" fmla="abs f57"/>
              <a:gd name="f71" fmla="?: f56 f18 f2"/>
              <a:gd name="f72" fmla="?: f56 f2 f18"/>
              <a:gd name="f73" fmla="?: f56 f3 f2"/>
              <a:gd name="f74" fmla="?: f56 f2 f3"/>
              <a:gd name="f75" fmla="abs f58"/>
              <a:gd name="f76" fmla="?: f58 f18 f2"/>
              <a:gd name="f77" fmla="?: f58 f2 f18"/>
              <a:gd name="f78" fmla="?: f58 f60 f59"/>
              <a:gd name="f79" fmla="?: f58 f59 f60"/>
              <a:gd name="f80" fmla="*/ f17 f61 1"/>
              <a:gd name="f81" fmla="?: f43 f63 f62"/>
              <a:gd name="f82" fmla="?: f43 f67 f66"/>
              <a:gd name="f83" fmla="?: f43 f66 f67"/>
              <a:gd name="f84" fmla="?: f56 f74 f73"/>
              <a:gd name="f85" fmla="?: f56 f73 f74"/>
              <a:gd name="f86" fmla="?: f57 f72 f71"/>
              <a:gd name="f87" fmla="?: f42 f78 f79"/>
              <a:gd name="f88" fmla="?: f42 f76 f77"/>
              <a:gd name="f89" fmla="*/ f80 3163 1"/>
              <a:gd name="f90" fmla="?: f53 f82 f83"/>
              <a:gd name="f91" fmla="?: f57 f85 f84"/>
              <a:gd name="f92" fmla="*/ f89 1 7636"/>
              <a:gd name="f93" fmla="+- f7 f92 0"/>
              <a:gd name="f94" fmla="+- f30 0 f92"/>
              <a:gd name="f95" fmla="+- f31 0 f92"/>
              <a:gd name="f96" fmla="*/ f93 f29 1"/>
              <a:gd name="f97" fmla="*/ f94 f29 1"/>
              <a:gd name="f98" fmla="*/ f95 f29 1"/>
            </a:gdLst>
            <a:ahLst>
              <a:ahXY gdRefX="f0" minX="f7" maxX="f10">
                <a:pos x="f36" y="f37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96" t="f96" r="f97" b="f98"/>
            <a:pathLst>
              <a:path>
                <a:moveTo>
                  <a:pt x="f38" y="f37"/>
                </a:moveTo>
                <a:arcTo wR="f47" hR="f48" stAng="f81" swAng="f64"/>
                <a:lnTo>
                  <a:pt x="f37" y="f44"/>
                </a:lnTo>
                <a:arcTo wR="f48" hR="f65" stAng="f90" swAng="f68"/>
                <a:lnTo>
                  <a:pt x="f45" y="f39"/>
                </a:lnTo>
                <a:arcTo wR="f69" hR="f70" stAng="f91" swAng="f86"/>
                <a:lnTo>
                  <a:pt x="f40" y="f38"/>
                </a:lnTo>
                <a:arcTo wR="f75" hR="f47" stAng="f87" swAng="f88"/>
                <a:close/>
              </a:path>
            </a:pathLst>
          </a:custGeom>
          <a:solidFill>
            <a:srgbClr val="FFFFFF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CD7C712E-2F70-42A6-A52D-D9653144A83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255000" y="6461761"/>
            <a:ext cx="3597910" cy="200376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pic>
        <p:nvPicPr>
          <p:cNvPr id="9" name="Picture 8" descr="A picture containing building&#10;&#10;Description automatically generated">
            <a:extLst>
              <a:ext uri="{FF2B5EF4-FFF2-40B4-BE49-F238E27FC236}">
                <a16:creationId xmlns:a16="http://schemas.microsoft.com/office/drawing/2014/main" id="{D95D9418-0F89-4432-A265-96ECB2157CAF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10823" y="786066"/>
            <a:ext cx="1371942" cy="1228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499204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und Text (Variante 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04A1A60-F6CA-4327-B13E-F91E1552BE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347862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45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CAE9E515-2F28-41DC-BFAE-E2DAEC28DE8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Freihandform: Form 4">
            <a:extLst>
              <a:ext uri="{FF2B5EF4-FFF2-40B4-BE49-F238E27FC236}">
                <a16:creationId xmlns:a16="http://schemas.microsoft.com/office/drawing/2014/main" id="{0130A2B9-13B3-435E-B671-552BAB16C0DB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rgbClr val="E8E1DC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23" name="Bildplatzhalter 5">
            <a:extLst>
              <a:ext uri="{FF2B5EF4-FFF2-40B4-BE49-F238E27FC236}">
                <a16:creationId xmlns:a16="http://schemas.microsoft.com/office/drawing/2014/main" id="{EC02C137-EF2A-4A7F-B93D-236E35730E42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223965"/>
            <a:ext cx="12193588" cy="2740786"/>
          </a:xfrm>
          <a:solidFill>
            <a:schemeClr val="accent2">
              <a:alpha val="76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en-GB" dirty="0" err="1"/>
              <a:t>Bildplatzhalter</a:t>
            </a:r>
            <a:r>
              <a:rPr lang="en-GB" dirty="0"/>
              <a:t> – </a:t>
            </a:r>
            <a:r>
              <a:rPr lang="en-GB" dirty="0" err="1"/>
              <a:t>ggf</a:t>
            </a:r>
            <a:r>
              <a:rPr lang="en-GB" dirty="0"/>
              <a:t>. </a:t>
            </a:r>
            <a:r>
              <a:rPr lang="en-GB" dirty="0" err="1"/>
              <a:t>löschen</a:t>
            </a:r>
            <a:endParaRPr lang="en-GB" dirty="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CA9FC0CC-9033-4D8A-A6BC-A002B24C0BD2}"/>
              </a:ext>
            </a:extLst>
          </p:cNvPr>
          <p:cNvGrpSpPr/>
          <p:nvPr userDrawn="1"/>
        </p:nvGrpSpPr>
        <p:grpSpPr>
          <a:xfrm>
            <a:off x="-105798" y="3964785"/>
            <a:ext cx="12465438" cy="3079164"/>
            <a:chOff x="-105798" y="3964785"/>
            <a:chExt cx="12465438" cy="3079164"/>
          </a:xfrm>
          <a:solidFill>
            <a:schemeClr val="bg1"/>
          </a:solidFill>
        </p:grpSpPr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60B9FC7D-7671-4359-868C-C18751149F40}"/>
                </a:ext>
              </a:extLst>
            </p:cNvPr>
            <p:cNvSpPr/>
            <p:nvPr/>
          </p:nvSpPr>
          <p:spPr>
            <a:xfrm>
              <a:off x="11096724" y="5191609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FC7579E3-F175-4297-A6C3-5E9519499DE0}"/>
                </a:ext>
              </a:extLst>
            </p:cNvPr>
            <p:cNvSpPr/>
            <p:nvPr/>
          </p:nvSpPr>
          <p:spPr>
            <a:xfrm>
              <a:off x="4985600" y="6029792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301C1388-D348-4EFE-BB0A-2538F0008C56}"/>
                </a:ext>
              </a:extLst>
            </p:cNvPr>
            <p:cNvCxnSpPr>
              <a:stCxn id="13" idx="2"/>
            </p:cNvCxnSpPr>
            <p:nvPr/>
          </p:nvCxnSpPr>
          <p:spPr>
            <a:xfrm flipH="1">
              <a:off x="-105798" y="6087052"/>
              <a:ext cx="5091398" cy="67768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9184C34E-E1B6-4430-AC8C-320A45C50A02}"/>
                </a:ext>
              </a:extLst>
            </p:cNvPr>
            <p:cNvCxnSpPr>
              <a:cxnSpLocks/>
              <a:endCxn id="13" idx="2"/>
            </p:cNvCxnSpPr>
            <p:nvPr/>
          </p:nvCxnSpPr>
          <p:spPr>
            <a:xfrm flipH="1">
              <a:off x="4985600" y="5258319"/>
              <a:ext cx="6184336" cy="82873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8EC5E628-AC25-45A9-BC32-6FB82C2DD70C}"/>
                </a:ext>
              </a:extLst>
            </p:cNvPr>
            <p:cNvCxnSpPr>
              <a:cxnSpLocks/>
            </p:cNvCxnSpPr>
            <p:nvPr/>
          </p:nvCxnSpPr>
          <p:spPr>
            <a:xfrm>
              <a:off x="11153984" y="524886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AD03EF75-8E6F-492B-9C80-29C114C0369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169936" y="3964785"/>
              <a:ext cx="1023623" cy="126581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89FCBD96-5C9A-4FCF-B7F5-23C75481F67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78155" y="6075583"/>
              <a:ext cx="1076732" cy="968366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0CCAE83F-C8C0-48C7-9BDF-8F066C3A5FD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829546" y="5257112"/>
              <a:ext cx="4324438" cy="176826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E37E2913-91A6-47CD-96F6-AF7139995A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8" y="1946733"/>
            <a:ext cx="3705542" cy="769441"/>
          </a:xfr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lang="de-DE" kern="0" dirty="0">
                <a:solidFill>
                  <a:schemeClr val="accent2"/>
                </a:solidFill>
                <a:ea typeface="+mn-ea"/>
              </a:defRPr>
            </a:lvl1pPr>
          </a:lstStyle>
          <a:p>
            <a:pPr lvl="0" defTabSz="914400" eaLnBrk="1" latinLnBrk="0"/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B75728D-E669-449B-AEB3-9AC3A288A0E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0AC4F1E0-5DE6-4A2B-BD02-9129EACDDD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4409954"/>
            <a:ext cx="10261600" cy="1719384"/>
          </a:xfrm>
        </p:spPr>
        <p:txBody>
          <a:bodyPr/>
          <a:lstStyle>
            <a:lvl1pPr>
              <a:defRPr sz="1800" b="0">
                <a:solidFill>
                  <a:schemeClr val="accent2"/>
                </a:solidFill>
              </a:defRPr>
            </a:lvl1pPr>
            <a:lvl2pPr>
              <a:defRPr sz="1800" b="0">
                <a:solidFill>
                  <a:schemeClr val="accent2"/>
                </a:solidFill>
              </a:defRPr>
            </a:lvl2pPr>
            <a:lvl3pPr>
              <a:defRPr sz="1800" b="0">
                <a:solidFill>
                  <a:schemeClr val="accent2"/>
                </a:solidFill>
              </a:defRPr>
            </a:lvl3pPr>
            <a:lvl4pPr>
              <a:defRPr sz="1800" b="0"/>
            </a:lvl4pPr>
            <a:lvl5pPr>
              <a:defRPr sz="18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pic>
        <p:nvPicPr>
          <p:cNvPr id="22" name="Picture 21" descr="A picture containing building&#10;&#10;Description automatically generated">
            <a:extLst>
              <a:ext uri="{FF2B5EF4-FFF2-40B4-BE49-F238E27FC236}">
                <a16:creationId xmlns:a16="http://schemas.microsoft.com/office/drawing/2014/main" id="{2202BDBF-E0F4-420D-A674-ED627E9B1DF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996064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(Variante 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796E430-E199-42D1-B750-00CFE32E2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52524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37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72C0A64-6206-47F9-B774-144C1A5CFA2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Bildplatzhalter 5">
            <a:extLst>
              <a:ext uri="{FF2B5EF4-FFF2-40B4-BE49-F238E27FC236}">
                <a16:creationId xmlns:a16="http://schemas.microsoft.com/office/drawing/2014/main" id="{8A3E5293-193E-4B93-B263-4B5F18B6463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1223963"/>
            <a:ext cx="5400720" cy="5634037"/>
          </a:xfrm>
          <a:solidFill>
            <a:schemeClr val="accent2">
              <a:alpha val="76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EBF67F5-C9FB-4443-A3BF-5AD5D375E6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96000" y="1946735"/>
            <a:ext cx="5413338" cy="786305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5EA2EC6-426A-4C23-8F5B-477952BFCF9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51ABBD5B-16B2-4EE3-AEE1-1DEF4D8004C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96000" y="3033713"/>
            <a:ext cx="5413338" cy="3095625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8682720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82BEA0F-D748-4945-B265-C1D001BBF3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149560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55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6D9E8A8-96EC-45DC-98B9-24C93A48DEF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A3BFE3B-ABB1-4EA4-A211-413BCDDCD35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l="14487" t="34330" r="14457" b="10465"/>
          <a:stretch/>
        </p:blipFill>
        <p:spPr>
          <a:xfrm>
            <a:off x="4611" y="0"/>
            <a:ext cx="12188977" cy="6858000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253EF863-8B2B-47E2-B003-6FE342397862}"/>
              </a:ext>
            </a:extLst>
          </p:cNvPr>
          <p:cNvSpPr txBox="1">
            <a:spLocks/>
          </p:cNvSpPr>
          <p:nvPr userDrawn="1"/>
        </p:nvSpPr>
        <p:spPr>
          <a:xfrm>
            <a:off x="947738" y="3565463"/>
            <a:ext cx="10261600" cy="307777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ctr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bg1"/>
                </a:solidFill>
                <a:latin typeface="Arial" pitchFamily="18"/>
                <a:cs typeface="Arial" pitchFamily="18"/>
              </a:defRPr>
            </a:lvl1pPr>
          </a:lstStyle>
          <a:p>
            <a:r>
              <a:rPr lang="de-DE" sz="2000" kern="0" dirty="0">
                <a:solidFill>
                  <a:schemeClr val="bg1"/>
                </a:solidFill>
              </a:rPr>
              <a:t>VIELEN DANK FÜR IHRE AUFMERKSAMKEIT.</a:t>
            </a:r>
          </a:p>
        </p:txBody>
      </p:sp>
    </p:spTree>
    <p:extLst>
      <p:ext uri="{BB962C8B-B14F-4D97-AF65-F5344CB8AC3E}">
        <p14:creationId xmlns:p14="http://schemas.microsoft.com/office/powerpoint/2010/main" val="97041447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8238FD-7BD0-4692-99BA-68B0EECD32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199" y="1122363"/>
            <a:ext cx="9145191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4BBBB9B-70FA-42B2-9106-ACFEC2FF246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199" y="3602038"/>
            <a:ext cx="9145191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021AA93-9954-4720-897C-C1E37A4BC8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12/1/2021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AC9DFB-2890-4138-B21E-30832586A4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FB8F694-57A1-4947-8E35-EE9E5EC0DF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205492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A0584E-8CEC-4683-9742-8C58256C9B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2236461-3F79-4CEF-A7BB-48E164BBF73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057B155-0AA0-4F7A-9433-AA2940C7F3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12/1/2021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AF24374-F361-4C3F-B321-A17C1EF8A9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566ECD-E9EA-41CB-8D4E-B87D0FE499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646049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8F14F7-3EA1-4F3E-BAD6-68BC438EB7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958" y="1709739"/>
            <a:ext cx="1051697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3201ECD-4857-4233-96DC-0811C6CC746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958" y="4589464"/>
            <a:ext cx="1051697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9770F9C-794E-4619-A538-BE0CF7DBA5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pPr/>
              <a:t>12/1/2021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F7BFFE1-CB0A-4356-8AD7-0E22F20229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1FBD583-034D-45C0-8DDD-C14D879320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807601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66609D-47B4-4157-8804-E6272C561D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E24B2BC-5CA1-4FD0-982B-DAA506E715B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309" y="1825625"/>
            <a:ext cx="5182275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FF9DC9F-437C-49C0-8DC4-E543B41BE98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3004" y="1825625"/>
            <a:ext cx="5182275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8BEB523-99A1-4863-9408-E4603C9577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12/1/2021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986D252-C351-44CE-8F31-DBD04D3991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1BE0E7-EF2E-4F43-9085-3ACEC3360C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111852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7CE999-55BE-4D5C-8484-3057C24C08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897" y="365126"/>
            <a:ext cx="1051697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E8260D-2812-49FD-869D-FAA7BB84573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898" y="1681163"/>
            <a:ext cx="5158459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285B103-CB02-408F-B616-A1509E63D2B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898" y="2505075"/>
            <a:ext cx="5158459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A404802-BE5D-4209-A131-A4BE1E858D1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3004" y="1681163"/>
            <a:ext cx="5183863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B96C315-9565-4F90-815A-A1744CD8C19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3004" y="2505075"/>
            <a:ext cx="5183863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05A741F-1664-41FC-AB87-62CC960C5E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12/1/2021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D777B85-40BE-4ECC-BF4B-27A64E0498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59490E1-440A-42CE-AE91-F2ECE44F4E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349764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31AF59-4B98-4967-B1E4-76DA5AE863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D0520F-86D3-4984-9B0A-9F195DDCD5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12/1/2021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769CA0E-1434-4C1A-8A80-CEED245ED9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DB3D72E-F229-4712-9BB7-B27DB9A3A6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917232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E1F0229-7A86-4616-9E98-3BB041EF70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12/1/2021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74FE15B-B093-44FB-94BC-706F4A9646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A0E37D-54D8-4719-A157-23660CFA90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550296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arbvariante (dunke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BD0E80A-4A08-4CA9-A51F-C439E2C290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25267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35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D12DEDE-2F3C-4CD4-9A94-EF7BDD02606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Freihandform: Form 4">
            <a:extLst>
              <a:ext uri="{FF2B5EF4-FFF2-40B4-BE49-F238E27FC236}">
                <a16:creationId xmlns:a16="http://schemas.microsoft.com/office/drawing/2014/main" id="{B2F63660-DA86-4B29-BD7F-0791D0F28499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rgbClr val="333333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1D44B7D1-B6DF-44B2-AF37-5E979F0B5FB7}"/>
              </a:ext>
            </a:extLst>
          </p:cNvPr>
          <p:cNvGrpSpPr/>
          <p:nvPr userDrawn="1"/>
        </p:nvGrpSpPr>
        <p:grpSpPr>
          <a:xfrm>
            <a:off x="-105798" y="1166741"/>
            <a:ext cx="12465438" cy="5877208"/>
            <a:chOff x="-105798" y="1166741"/>
            <a:chExt cx="12465438" cy="5877208"/>
          </a:xfrm>
          <a:solidFill>
            <a:schemeClr val="bg1"/>
          </a:solidFill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0DE7E0BE-167C-4C7B-A2A1-F1339E406305}"/>
                </a:ext>
              </a:extLst>
            </p:cNvPr>
            <p:cNvSpPr/>
            <p:nvPr/>
          </p:nvSpPr>
          <p:spPr>
            <a:xfrm>
              <a:off x="11096724" y="5191609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96EB918E-A3FD-45E0-B11E-6CD826FDCB6F}"/>
                </a:ext>
              </a:extLst>
            </p:cNvPr>
            <p:cNvSpPr/>
            <p:nvPr/>
          </p:nvSpPr>
          <p:spPr>
            <a:xfrm>
              <a:off x="4985600" y="6029792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E74274AF-5F88-498F-B26C-8DE500443544}"/>
                </a:ext>
              </a:extLst>
            </p:cNvPr>
            <p:cNvCxnSpPr>
              <a:stCxn id="11" idx="2"/>
            </p:cNvCxnSpPr>
            <p:nvPr/>
          </p:nvCxnSpPr>
          <p:spPr>
            <a:xfrm flipH="1">
              <a:off x="-105798" y="6087052"/>
              <a:ext cx="5091398" cy="67768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2B476013-EC7F-40C2-8985-4DC79CD60CDF}"/>
                </a:ext>
              </a:extLst>
            </p:cNvPr>
            <p:cNvCxnSpPr>
              <a:cxnSpLocks/>
              <a:endCxn id="11" idx="2"/>
            </p:cNvCxnSpPr>
            <p:nvPr/>
          </p:nvCxnSpPr>
          <p:spPr>
            <a:xfrm flipH="1">
              <a:off x="4985600" y="5258319"/>
              <a:ext cx="6184336" cy="82873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370B9D25-24B0-4271-B2A3-F27860ACE121}"/>
                </a:ext>
              </a:extLst>
            </p:cNvPr>
            <p:cNvCxnSpPr>
              <a:cxnSpLocks/>
            </p:cNvCxnSpPr>
            <p:nvPr/>
          </p:nvCxnSpPr>
          <p:spPr>
            <a:xfrm>
              <a:off x="11153984" y="524886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26529AF9-83A7-4A29-B985-36839BE51A5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169936" y="1166741"/>
              <a:ext cx="1029933" cy="4063862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1BE0219E-B19A-4B47-AD0E-325B2E1DB71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78155" y="6075583"/>
              <a:ext cx="1076732" cy="968366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D76657F-459E-4991-8FEB-7DF8E02BF8C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829546" y="5257112"/>
              <a:ext cx="4324438" cy="176826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A78A1E2-B266-4C5C-9038-BF140B63D9A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DE74EA9-174C-457F-9438-AACACFE9A0F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10261600" cy="3095625"/>
          </a:xfrm>
        </p:spPr>
        <p:txBody>
          <a:bodyPr/>
          <a:lstStyle>
            <a:lvl1pPr>
              <a:tabLst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pic>
        <p:nvPicPr>
          <p:cNvPr id="18" name="Picture 17" descr="A picture containing building&#10;&#10;Description automatically generated">
            <a:extLst>
              <a:ext uri="{FF2B5EF4-FFF2-40B4-BE49-F238E27FC236}">
                <a16:creationId xmlns:a16="http://schemas.microsoft.com/office/drawing/2014/main" id="{007C7A14-75ED-462A-8C29-78404B6D593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567203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3178A4-1397-47D8-BA67-84B6E299B4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898" y="457200"/>
            <a:ext cx="3932749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6369F96-7131-48BB-9170-0A33A4C712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863" y="987426"/>
            <a:ext cx="6173004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DC851A7-3443-4A08-A29C-5D10BF32221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898" y="2057400"/>
            <a:ext cx="3932749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4DF7BEC-613A-4304-AF61-D62524E8D5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12/1/2021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6E97D22-2B18-4062-8E9E-873700156D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B9EDE24-5E64-4933-ABAD-29278EE452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891389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E4B974-D050-4FDE-9500-87DD259D72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898" y="457200"/>
            <a:ext cx="3932749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8A2A5F9-4E45-48E7-84DD-193F4F3438F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863" y="987426"/>
            <a:ext cx="6173004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E0B5A42-A04B-4461-AB39-D21B443C247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898" y="2057400"/>
            <a:ext cx="3932749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41F7E87-D6E2-4A06-97DE-9339F18D5B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12/1/2021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D15853F-AB11-458E-AC23-5C32F0EACE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DB87FA6-A633-4BAD-94CF-531E5A0397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116723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CC76A2-F427-40B7-8338-3E5BBDD240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CE5CF79-DF49-469A-9032-9488616C52F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85A8A2C-F52A-416E-921F-D10C042FBF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12/1/2021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36FA7F-B524-4882-92EB-B979FA3406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DCE46AB-59D5-48BC-9DCD-D3D3DA4652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796931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EF6E75F2-D155-4D90-BADC-042A5AED235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6037" y="365125"/>
            <a:ext cx="2629242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5A7FF68-5DFD-4059-8363-D5B60AA28FF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309" y="365125"/>
            <a:ext cx="7735307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5216014-3D83-45DB-B9AD-F87648F13D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pPr/>
              <a:t>12/1/2021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0601F8C-EAFF-48F1-8C8B-15C7975E2C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E0CCEAE-E538-4C44-80A1-9666F9B4C4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801942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14543A6-537F-4089-9A3E-E7BD17CFC5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99714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54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14543A6-537F-4089-9A3E-E7BD17CFC5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EC58F9BB-37A4-4F8E-ACE4-B023CD458C2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60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E8D1866-871B-43A1-AE2E-1D87994570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7088" b="11906"/>
          <a:stretch/>
        </p:blipFill>
        <p:spPr>
          <a:xfrm>
            <a:off x="3413" y="330369"/>
            <a:ext cx="12188952" cy="6527631"/>
          </a:xfrm>
          <a:prstGeom prst="rect">
            <a:avLst/>
          </a:prstGeom>
        </p:spPr>
      </p:pic>
      <p:sp>
        <p:nvSpPr>
          <p:cNvPr id="11" name="Freihandform: Form 2">
            <a:extLst>
              <a:ext uri="{FF2B5EF4-FFF2-40B4-BE49-F238E27FC236}">
                <a16:creationId xmlns:a16="http://schemas.microsoft.com/office/drawing/2014/main" id="{59723EE7-2D9E-40C5-9DB4-01066F2C69FB}"/>
              </a:ext>
            </a:extLst>
          </p:cNvPr>
          <p:cNvSpPr/>
          <p:nvPr userDrawn="1"/>
        </p:nvSpPr>
        <p:spPr>
          <a:xfrm>
            <a:off x="0" y="-1"/>
            <a:ext cx="12193559" cy="2801073"/>
          </a:xfrm>
          <a:custGeom>
            <a:avLst>
              <a:gd name="f0" fmla="val 13"/>
            </a:avLst>
            <a:gdLst>
              <a:gd name="f1" fmla="val 10800000"/>
              <a:gd name="f2" fmla="val 5400000"/>
              <a:gd name="f3" fmla="val 1620000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val 45"/>
              <a:gd name="f10" fmla="val 10800"/>
              <a:gd name="f11" fmla="val -2147483647"/>
              <a:gd name="f12" fmla="val 2147483647"/>
              <a:gd name="f13" fmla="abs f4"/>
              <a:gd name="f14" fmla="abs f5"/>
              <a:gd name="f15" fmla="abs f6"/>
              <a:gd name="f16" fmla="*/ f8 1 180"/>
              <a:gd name="f17" fmla="pin 0 f0 10800"/>
              <a:gd name="f18" fmla="+- 0 0 f2"/>
              <a:gd name="f19" fmla="?: f13 f4 1"/>
              <a:gd name="f20" fmla="?: f14 f5 1"/>
              <a:gd name="f21" fmla="?: f15 f6 1"/>
              <a:gd name="f22" fmla="*/ f9 f16 1"/>
              <a:gd name="f23" fmla="+- f7 f17 0"/>
              <a:gd name="f24" fmla="*/ f19 1 21600"/>
              <a:gd name="f25" fmla="*/ f20 1 21600"/>
              <a:gd name="f26" fmla="*/ 21600 f19 1"/>
              <a:gd name="f27" fmla="*/ 21600 f20 1"/>
              <a:gd name="f28" fmla="+- 0 0 f22"/>
              <a:gd name="f29" fmla="min f25 f24"/>
              <a:gd name="f30" fmla="*/ f26 1 f21"/>
              <a:gd name="f31" fmla="*/ f27 1 f21"/>
              <a:gd name="f32" fmla="*/ f28 f1 1"/>
              <a:gd name="f33" fmla="*/ f32 1 f8"/>
              <a:gd name="f34" fmla="+- f31 0 f17"/>
              <a:gd name="f35" fmla="+- f30 0 f17"/>
              <a:gd name="f36" fmla="*/ f17 f29 1"/>
              <a:gd name="f37" fmla="*/ f7 f29 1"/>
              <a:gd name="f38" fmla="*/ f23 f29 1"/>
              <a:gd name="f39" fmla="*/ f31 f29 1"/>
              <a:gd name="f40" fmla="*/ f30 f29 1"/>
              <a:gd name="f41" fmla="+- f33 0 f2"/>
              <a:gd name="f42" fmla="+- f37 0 f38"/>
              <a:gd name="f43" fmla="+- f38 0 f37"/>
              <a:gd name="f44" fmla="*/ f34 f29 1"/>
              <a:gd name="f45" fmla="*/ f35 f29 1"/>
              <a:gd name="f46" fmla="cos 1 f41"/>
              <a:gd name="f47" fmla="abs f42"/>
              <a:gd name="f48" fmla="abs f43"/>
              <a:gd name="f49" fmla="?: f42 f18 f2"/>
              <a:gd name="f50" fmla="?: f42 f2 f18"/>
              <a:gd name="f51" fmla="?: f42 f3 f2"/>
              <a:gd name="f52" fmla="?: f42 f2 f3"/>
              <a:gd name="f53" fmla="+- f39 0 f44"/>
              <a:gd name="f54" fmla="?: f43 f18 f2"/>
              <a:gd name="f55" fmla="?: f43 f2 f18"/>
              <a:gd name="f56" fmla="+- f40 0 f45"/>
              <a:gd name="f57" fmla="+- f44 0 f39"/>
              <a:gd name="f58" fmla="+- f45 0 f40"/>
              <a:gd name="f59" fmla="?: f42 0 f1"/>
              <a:gd name="f60" fmla="?: f42 f1 0"/>
              <a:gd name="f61" fmla="+- 0 0 f46"/>
              <a:gd name="f62" fmla="?: f42 f52 f51"/>
              <a:gd name="f63" fmla="?: f42 f51 f52"/>
              <a:gd name="f64" fmla="?: f43 f50 f49"/>
              <a:gd name="f65" fmla="abs f53"/>
              <a:gd name="f66" fmla="?: f53 0 f1"/>
              <a:gd name="f67" fmla="?: f53 f1 0"/>
              <a:gd name="f68" fmla="?: f53 f54 f55"/>
              <a:gd name="f69" fmla="abs f56"/>
              <a:gd name="f70" fmla="abs f57"/>
              <a:gd name="f71" fmla="?: f56 f18 f2"/>
              <a:gd name="f72" fmla="?: f56 f2 f18"/>
              <a:gd name="f73" fmla="?: f56 f3 f2"/>
              <a:gd name="f74" fmla="?: f56 f2 f3"/>
              <a:gd name="f75" fmla="abs f58"/>
              <a:gd name="f76" fmla="?: f58 f18 f2"/>
              <a:gd name="f77" fmla="?: f58 f2 f18"/>
              <a:gd name="f78" fmla="?: f58 f60 f59"/>
              <a:gd name="f79" fmla="?: f58 f59 f60"/>
              <a:gd name="f80" fmla="*/ f17 f61 1"/>
              <a:gd name="f81" fmla="?: f43 f63 f62"/>
              <a:gd name="f82" fmla="?: f43 f67 f66"/>
              <a:gd name="f83" fmla="?: f43 f66 f67"/>
              <a:gd name="f84" fmla="?: f56 f74 f73"/>
              <a:gd name="f85" fmla="?: f56 f73 f74"/>
              <a:gd name="f86" fmla="?: f57 f72 f71"/>
              <a:gd name="f87" fmla="?: f42 f78 f79"/>
              <a:gd name="f88" fmla="?: f42 f76 f77"/>
              <a:gd name="f89" fmla="*/ f80 3163 1"/>
              <a:gd name="f90" fmla="?: f53 f82 f83"/>
              <a:gd name="f91" fmla="?: f57 f85 f84"/>
              <a:gd name="f92" fmla="*/ f89 1 7636"/>
              <a:gd name="f93" fmla="+- f7 f92 0"/>
              <a:gd name="f94" fmla="+- f30 0 f92"/>
              <a:gd name="f95" fmla="+- f31 0 f92"/>
              <a:gd name="f96" fmla="*/ f93 f29 1"/>
              <a:gd name="f97" fmla="*/ f94 f29 1"/>
              <a:gd name="f98" fmla="*/ f95 f29 1"/>
            </a:gdLst>
            <a:ahLst>
              <a:ahXY gdRefX="f0" minX="f7" maxX="f10">
                <a:pos x="f36" y="f37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96" t="f96" r="f97" b="f98"/>
            <a:pathLst>
              <a:path>
                <a:moveTo>
                  <a:pt x="f38" y="f37"/>
                </a:moveTo>
                <a:arcTo wR="f47" hR="f48" stAng="f81" swAng="f64"/>
                <a:lnTo>
                  <a:pt x="f37" y="f44"/>
                </a:lnTo>
                <a:arcTo wR="f48" hR="f65" stAng="f90" swAng="f68"/>
                <a:lnTo>
                  <a:pt x="f45" y="f39"/>
                </a:lnTo>
                <a:arcTo wR="f69" hR="f70" stAng="f91" swAng="f86"/>
                <a:lnTo>
                  <a:pt x="f40" y="f38"/>
                </a:lnTo>
                <a:arcTo wR="f75" hR="f47" stAng="f87" swAng="f88"/>
                <a:close/>
              </a:path>
            </a:pathLst>
          </a:custGeom>
          <a:solidFill>
            <a:srgbClr val="FFFFFF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CD7C712E-2F70-42A6-A52D-D9653144A83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255000" y="6461761"/>
            <a:ext cx="3597910" cy="200376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pic>
        <p:nvPicPr>
          <p:cNvPr id="9" name="Picture 8" descr="A picture containing building&#10;&#10;Description automatically generated">
            <a:extLst>
              <a:ext uri="{FF2B5EF4-FFF2-40B4-BE49-F238E27FC236}">
                <a16:creationId xmlns:a16="http://schemas.microsoft.com/office/drawing/2014/main" id="{D95D9418-0F89-4432-A265-96ECB2157CAF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10823" y="786066"/>
            <a:ext cx="1371942" cy="1228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100732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arbvariante (dunke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BD0E80A-4A08-4CA9-A51F-C439E2C290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199463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78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BBD0E80A-4A08-4CA9-A51F-C439E2C290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D12DEDE-2F3C-4CD4-9A94-EF7BDD02606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Freihandform: Form 4">
            <a:extLst>
              <a:ext uri="{FF2B5EF4-FFF2-40B4-BE49-F238E27FC236}">
                <a16:creationId xmlns:a16="http://schemas.microsoft.com/office/drawing/2014/main" id="{B2F63660-DA86-4B29-BD7F-0791D0F28499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rgbClr val="333333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1D44B7D1-B6DF-44B2-AF37-5E979F0B5FB7}"/>
              </a:ext>
            </a:extLst>
          </p:cNvPr>
          <p:cNvGrpSpPr/>
          <p:nvPr userDrawn="1"/>
        </p:nvGrpSpPr>
        <p:grpSpPr>
          <a:xfrm>
            <a:off x="-105798" y="1166741"/>
            <a:ext cx="12465438" cy="5877208"/>
            <a:chOff x="-105798" y="1166741"/>
            <a:chExt cx="12465438" cy="5877208"/>
          </a:xfrm>
          <a:solidFill>
            <a:schemeClr val="bg1"/>
          </a:solidFill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0DE7E0BE-167C-4C7B-A2A1-F1339E406305}"/>
                </a:ext>
              </a:extLst>
            </p:cNvPr>
            <p:cNvSpPr/>
            <p:nvPr/>
          </p:nvSpPr>
          <p:spPr>
            <a:xfrm>
              <a:off x="11096724" y="5191609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96EB918E-A3FD-45E0-B11E-6CD826FDCB6F}"/>
                </a:ext>
              </a:extLst>
            </p:cNvPr>
            <p:cNvSpPr/>
            <p:nvPr/>
          </p:nvSpPr>
          <p:spPr>
            <a:xfrm>
              <a:off x="4985600" y="6029792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E74274AF-5F88-498F-B26C-8DE500443544}"/>
                </a:ext>
              </a:extLst>
            </p:cNvPr>
            <p:cNvCxnSpPr>
              <a:stCxn id="11" idx="2"/>
            </p:cNvCxnSpPr>
            <p:nvPr/>
          </p:nvCxnSpPr>
          <p:spPr>
            <a:xfrm flipH="1">
              <a:off x="-105798" y="6087052"/>
              <a:ext cx="5091398" cy="67768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2B476013-EC7F-40C2-8985-4DC79CD60CDF}"/>
                </a:ext>
              </a:extLst>
            </p:cNvPr>
            <p:cNvCxnSpPr>
              <a:cxnSpLocks/>
              <a:endCxn id="11" idx="2"/>
            </p:cNvCxnSpPr>
            <p:nvPr/>
          </p:nvCxnSpPr>
          <p:spPr>
            <a:xfrm flipH="1">
              <a:off x="4985600" y="5258319"/>
              <a:ext cx="6184336" cy="82873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370B9D25-24B0-4271-B2A3-F27860ACE121}"/>
                </a:ext>
              </a:extLst>
            </p:cNvPr>
            <p:cNvCxnSpPr>
              <a:cxnSpLocks/>
            </p:cNvCxnSpPr>
            <p:nvPr/>
          </p:nvCxnSpPr>
          <p:spPr>
            <a:xfrm>
              <a:off x="11153984" y="524886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26529AF9-83A7-4A29-B985-36839BE51A5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169936" y="1166741"/>
              <a:ext cx="1029933" cy="4063862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1BE0219E-B19A-4B47-AD0E-325B2E1DB71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78155" y="6075583"/>
              <a:ext cx="1076732" cy="968366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D76657F-459E-4991-8FEB-7DF8E02BF8C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829546" y="5257112"/>
              <a:ext cx="4324438" cy="176826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3351FC51-FDCD-41F5-8AF4-C9381B15D4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A78A1E2-B266-4C5C-9038-BF140B63D9A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DE74EA9-174C-457F-9438-AACACFE9A0F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10261600" cy="3095625"/>
          </a:xfrm>
        </p:spPr>
        <p:txBody>
          <a:bodyPr/>
          <a:lstStyle>
            <a:lvl1pPr>
              <a:tabLst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pic>
        <p:nvPicPr>
          <p:cNvPr id="18" name="Picture 17" descr="A picture containing building&#10;&#10;Description automatically generated">
            <a:extLst>
              <a:ext uri="{FF2B5EF4-FFF2-40B4-BE49-F238E27FC236}">
                <a16:creationId xmlns:a16="http://schemas.microsoft.com/office/drawing/2014/main" id="{007C7A14-75ED-462A-8C29-78404B6D593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951701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arbvariante – Zwei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FC1FBC5-FA0E-4AA6-A1CC-83136BC436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24794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02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FC1FBC5-FA0E-4AA6-A1CC-83136BC436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FBEF2925-1490-4BBB-95A6-386EAD1D2EB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Freihandform: Form 4">
            <a:extLst>
              <a:ext uri="{FF2B5EF4-FFF2-40B4-BE49-F238E27FC236}">
                <a16:creationId xmlns:a16="http://schemas.microsoft.com/office/drawing/2014/main" id="{ECBF5769-E800-4C5F-AEE0-ABFA36815E26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chemeClr val="accent2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CB89F4BA-2D89-4650-AD36-7CF36C2E174B}"/>
              </a:ext>
            </a:extLst>
          </p:cNvPr>
          <p:cNvGrpSpPr/>
          <p:nvPr userDrawn="1"/>
        </p:nvGrpSpPr>
        <p:grpSpPr>
          <a:xfrm>
            <a:off x="-310915" y="692467"/>
            <a:ext cx="4701499" cy="7389994"/>
            <a:chOff x="-310915" y="692467"/>
            <a:chExt cx="4701499" cy="7389994"/>
          </a:xfrm>
          <a:solidFill>
            <a:schemeClr val="bg1"/>
          </a:solidFill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7D65BF82-F093-4C2D-8D09-596318DC6138}"/>
                </a:ext>
              </a:extLst>
            </p:cNvPr>
            <p:cNvSpPr/>
            <p:nvPr/>
          </p:nvSpPr>
          <p:spPr>
            <a:xfrm rot="16200000" flipV="1">
              <a:off x="251197" y="1840864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805F3245-BC3A-484D-98AA-E342D96AD444}"/>
                </a:ext>
              </a:extLst>
            </p:cNvPr>
            <p:cNvSpPr/>
            <p:nvPr/>
          </p:nvSpPr>
          <p:spPr>
            <a:xfrm rot="16200000" flipV="1">
              <a:off x="569712" y="4051850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659AA07D-9E1B-4E07-9CFD-2B64E35DD36D}"/>
                </a:ext>
              </a:extLst>
            </p:cNvPr>
            <p:cNvCxnSpPr>
              <a:cxnSpLocks/>
            </p:cNvCxnSpPr>
            <p:nvPr/>
          </p:nvCxnSpPr>
          <p:spPr>
            <a:xfrm>
              <a:off x="300213" y="1898123"/>
              <a:ext cx="904695" cy="618433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52567DBE-FA7E-4482-B2B1-1386BEEB33E0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-590778" y="99888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16DC5BCF-FEC4-43C6-86A9-99196B1F5072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1843686" y="-664727"/>
              <a:ext cx="1029933" cy="4063862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6E126266-41D0-47A5-9EA9-AC5B08527E1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310915" y="4060342"/>
              <a:ext cx="968366" cy="119293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71F35310-9150-47D8-BE1A-82B5799F59E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98823" y="1898123"/>
              <a:ext cx="424715" cy="207037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A48B3652-095C-471A-A60B-C7BC05D6D3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74008CF-8A94-4D00-A56B-0B2963AB29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© Coding Akademie München GmbH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6ECCE352-32A7-4BAA-9224-B1CF399503F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4"/>
            <a:ext cx="10261600" cy="79948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EF7E0732-50F1-4773-9628-193EA0BBFDD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47738" y="5329856"/>
            <a:ext cx="10261600" cy="79948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63748DDE-C0C0-4535-96AC-601746B0A24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47738" y="4543195"/>
            <a:ext cx="10261600" cy="410530"/>
          </a:xfrm>
        </p:spPr>
        <p:txBody>
          <a:bodyPr>
            <a:spAutoFit/>
          </a:bodyPr>
          <a:lstStyle>
            <a:lvl1pPr>
              <a:spcAft>
                <a:spcPts val="0"/>
              </a:spcAft>
              <a:defRPr sz="2500" cap="all" baseline="0">
                <a:solidFill>
                  <a:schemeClr val="bg2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itle style</a:t>
            </a:r>
          </a:p>
        </p:txBody>
      </p:sp>
      <p:pic>
        <p:nvPicPr>
          <p:cNvPr id="22" name="Picture 21" descr="A picture containing building&#10;&#10;Description automatically generated">
            <a:extLst>
              <a:ext uri="{FF2B5EF4-FFF2-40B4-BE49-F238E27FC236}">
                <a16:creationId xmlns:a16="http://schemas.microsoft.com/office/drawing/2014/main" id="{B17EF088-183B-478E-9448-D43BBC0A864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396865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rbvariante (he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514BCCB-E2E0-4EE9-A123-ABB6E55B6A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221444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26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9514BCCB-E2E0-4EE9-A123-ABB6E55B6A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297B4AD9-4DE7-46FC-A5D7-6F124040335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194804-CEF4-4035-B33E-4EF8E4210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3C54532-92BF-41E0-A70B-068FF8F3CE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4E96D4-1518-41AA-84C0-9F0CCB9BAA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10261600" cy="30956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672310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und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B23B5A8-D5FC-4407-A2A2-C3481861E3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844292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50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B23B5A8-D5FC-4407-A2A2-C3481861E3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B8FCC894-EC3C-4D43-8836-DDF70355D8B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1" name="Picture 10" descr="A person flying through the air on a snow covered mountain&#10;&#10;Description automatically generated">
            <a:extLst>
              <a:ext uri="{FF2B5EF4-FFF2-40B4-BE49-F238E27FC236}">
                <a16:creationId xmlns:a16="http://schemas.microsoft.com/office/drawing/2014/main" id="{5810151F-6DAF-4E76-BF6A-61CBC2BE41B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822"/>
          <a:stretch/>
        </p:blipFill>
        <p:spPr>
          <a:xfrm>
            <a:off x="0" y="1224000"/>
            <a:ext cx="12193588" cy="5634000"/>
          </a:xfrm>
          <a:prstGeom prst="rect">
            <a:avLst/>
          </a:prstGeom>
        </p:spPr>
      </p:pic>
      <p:sp>
        <p:nvSpPr>
          <p:cNvPr id="5" name="Freihandform: Form 2">
            <a:extLst>
              <a:ext uri="{FF2B5EF4-FFF2-40B4-BE49-F238E27FC236}">
                <a16:creationId xmlns:a16="http://schemas.microsoft.com/office/drawing/2014/main" id="{2691C14E-39AF-4132-8C91-12542F1EF30A}"/>
              </a:ext>
            </a:extLst>
          </p:cNvPr>
          <p:cNvSpPr/>
          <p:nvPr userDrawn="1"/>
        </p:nvSpPr>
        <p:spPr>
          <a:xfrm>
            <a:off x="0" y="0"/>
            <a:ext cx="12193559" cy="1224000"/>
          </a:xfrm>
          <a:custGeom>
            <a:avLst>
              <a:gd name="f0" fmla="val 28"/>
            </a:avLst>
            <a:gdLst>
              <a:gd name="f1" fmla="val 10800000"/>
              <a:gd name="f2" fmla="val 5400000"/>
              <a:gd name="f3" fmla="val 1620000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val 45"/>
              <a:gd name="f10" fmla="val 10800"/>
              <a:gd name="f11" fmla="val -2147483647"/>
              <a:gd name="f12" fmla="val 2147483647"/>
              <a:gd name="f13" fmla="abs f4"/>
              <a:gd name="f14" fmla="abs f5"/>
              <a:gd name="f15" fmla="abs f6"/>
              <a:gd name="f16" fmla="*/ f8 1 180"/>
              <a:gd name="f17" fmla="pin 0 f0 10800"/>
              <a:gd name="f18" fmla="+- 0 0 f2"/>
              <a:gd name="f19" fmla="?: f13 f4 1"/>
              <a:gd name="f20" fmla="?: f14 f5 1"/>
              <a:gd name="f21" fmla="?: f15 f6 1"/>
              <a:gd name="f22" fmla="*/ f9 f16 1"/>
              <a:gd name="f23" fmla="+- f7 f17 0"/>
              <a:gd name="f24" fmla="*/ f19 1 21600"/>
              <a:gd name="f25" fmla="*/ f20 1 21600"/>
              <a:gd name="f26" fmla="*/ 21600 f19 1"/>
              <a:gd name="f27" fmla="*/ 21600 f20 1"/>
              <a:gd name="f28" fmla="+- 0 0 f22"/>
              <a:gd name="f29" fmla="min f25 f24"/>
              <a:gd name="f30" fmla="*/ f26 1 f21"/>
              <a:gd name="f31" fmla="*/ f27 1 f21"/>
              <a:gd name="f32" fmla="*/ f28 f1 1"/>
              <a:gd name="f33" fmla="*/ f32 1 f8"/>
              <a:gd name="f34" fmla="+- f31 0 f17"/>
              <a:gd name="f35" fmla="+- f30 0 f17"/>
              <a:gd name="f36" fmla="*/ f17 f29 1"/>
              <a:gd name="f37" fmla="*/ f7 f29 1"/>
              <a:gd name="f38" fmla="*/ f23 f29 1"/>
              <a:gd name="f39" fmla="*/ f31 f29 1"/>
              <a:gd name="f40" fmla="*/ f30 f29 1"/>
              <a:gd name="f41" fmla="+- f33 0 f2"/>
              <a:gd name="f42" fmla="+- f37 0 f38"/>
              <a:gd name="f43" fmla="+- f38 0 f37"/>
              <a:gd name="f44" fmla="*/ f34 f29 1"/>
              <a:gd name="f45" fmla="*/ f35 f29 1"/>
              <a:gd name="f46" fmla="cos 1 f41"/>
              <a:gd name="f47" fmla="abs f42"/>
              <a:gd name="f48" fmla="abs f43"/>
              <a:gd name="f49" fmla="?: f42 f18 f2"/>
              <a:gd name="f50" fmla="?: f42 f2 f18"/>
              <a:gd name="f51" fmla="?: f42 f3 f2"/>
              <a:gd name="f52" fmla="?: f42 f2 f3"/>
              <a:gd name="f53" fmla="+- f39 0 f44"/>
              <a:gd name="f54" fmla="?: f43 f18 f2"/>
              <a:gd name="f55" fmla="?: f43 f2 f18"/>
              <a:gd name="f56" fmla="+- f40 0 f45"/>
              <a:gd name="f57" fmla="+- f44 0 f39"/>
              <a:gd name="f58" fmla="+- f45 0 f40"/>
              <a:gd name="f59" fmla="?: f42 0 f1"/>
              <a:gd name="f60" fmla="?: f42 f1 0"/>
              <a:gd name="f61" fmla="+- 0 0 f46"/>
              <a:gd name="f62" fmla="?: f42 f52 f51"/>
              <a:gd name="f63" fmla="?: f42 f51 f52"/>
              <a:gd name="f64" fmla="?: f43 f50 f49"/>
              <a:gd name="f65" fmla="abs f53"/>
              <a:gd name="f66" fmla="?: f53 0 f1"/>
              <a:gd name="f67" fmla="?: f53 f1 0"/>
              <a:gd name="f68" fmla="?: f53 f54 f55"/>
              <a:gd name="f69" fmla="abs f56"/>
              <a:gd name="f70" fmla="abs f57"/>
              <a:gd name="f71" fmla="?: f56 f18 f2"/>
              <a:gd name="f72" fmla="?: f56 f2 f18"/>
              <a:gd name="f73" fmla="?: f56 f3 f2"/>
              <a:gd name="f74" fmla="?: f56 f2 f3"/>
              <a:gd name="f75" fmla="abs f58"/>
              <a:gd name="f76" fmla="?: f58 f18 f2"/>
              <a:gd name="f77" fmla="?: f58 f2 f18"/>
              <a:gd name="f78" fmla="?: f58 f60 f59"/>
              <a:gd name="f79" fmla="?: f58 f59 f60"/>
              <a:gd name="f80" fmla="*/ f17 f61 1"/>
              <a:gd name="f81" fmla="?: f43 f63 f62"/>
              <a:gd name="f82" fmla="?: f43 f67 f66"/>
              <a:gd name="f83" fmla="?: f43 f66 f67"/>
              <a:gd name="f84" fmla="?: f56 f74 f73"/>
              <a:gd name="f85" fmla="?: f56 f73 f74"/>
              <a:gd name="f86" fmla="?: f57 f72 f71"/>
              <a:gd name="f87" fmla="?: f42 f78 f79"/>
              <a:gd name="f88" fmla="?: f42 f76 f77"/>
              <a:gd name="f89" fmla="*/ f80 3163 1"/>
              <a:gd name="f90" fmla="?: f53 f82 f83"/>
              <a:gd name="f91" fmla="?: f57 f85 f84"/>
              <a:gd name="f92" fmla="*/ f89 1 7636"/>
              <a:gd name="f93" fmla="+- f7 f92 0"/>
              <a:gd name="f94" fmla="+- f30 0 f92"/>
              <a:gd name="f95" fmla="+- f31 0 f92"/>
              <a:gd name="f96" fmla="*/ f93 f29 1"/>
              <a:gd name="f97" fmla="*/ f94 f29 1"/>
              <a:gd name="f98" fmla="*/ f95 f29 1"/>
            </a:gdLst>
            <a:ahLst>
              <a:ahXY gdRefX="f0" minX="f7" maxX="f10">
                <a:pos x="f36" y="f37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96" t="f96" r="f97" b="f98"/>
            <a:pathLst>
              <a:path>
                <a:moveTo>
                  <a:pt x="f38" y="f37"/>
                </a:moveTo>
                <a:arcTo wR="f47" hR="f48" stAng="f81" swAng="f64"/>
                <a:lnTo>
                  <a:pt x="f37" y="f44"/>
                </a:lnTo>
                <a:arcTo wR="f48" hR="f65" stAng="f90" swAng="f68"/>
                <a:lnTo>
                  <a:pt x="f45" y="f39"/>
                </a:lnTo>
                <a:arcTo wR="f69" hR="f70" stAng="f91" swAng="f86"/>
                <a:lnTo>
                  <a:pt x="f40" y="f38"/>
                </a:lnTo>
                <a:arcTo wR="f75" hR="f47" stAng="f87" swAng="f88"/>
                <a:close/>
              </a:path>
            </a:pathLst>
          </a:custGeom>
          <a:solidFill>
            <a:srgbClr val="FFFFFF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D237288-69B6-4DA0-BD7E-BD7A01D35A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8" y="3848400"/>
            <a:ext cx="5782197" cy="385200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3C0602B-2707-413D-BC93-3258944F80A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pic>
        <p:nvPicPr>
          <p:cNvPr id="12" name="Picture 11" descr="A picture containing building&#10;&#10;Description automatically generated">
            <a:extLst>
              <a:ext uri="{FF2B5EF4-FFF2-40B4-BE49-F238E27FC236}">
                <a16:creationId xmlns:a16="http://schemas.microsoft.com/office/drawing/2014/main" id="{7672403B-842A-49C6-8BEB-4D6B518EBD9F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  <p:grpSp>
        <p:nvGrpSpPr>
          <p:cNvPr id="20" name="Group 19">
            <a:extLst>
              <a:ext uri="{FF2B5EF4-FFF2-40B4-BE49-F238E27FC236}">
                <a16:creationId xmlns:a16="http://schemas.microsoft.com/office/drawing/2014/main" id="{B1ACA0BD-5512-4562-97BF-68ECC8FD9F4D}"/>
              </a:ext>
            </a:extLst>
          </p:cNvPr>
          <p:cNvGrpSpPr/>
          <p:nvPr userDrawn="1"/>
        </p:nvGrpSpPr>
        <p:grpSpPr>
          <a:xfrm>
            <a:off x="-310915" y="692467"/>
            <a:ext cx="4701499" cy="7389994"/>
            <a:chOff x="-310915" y="692467"/>
            <a:chExt cx="4701499" cy="7389994"/>
          </a:xfrm>
          <a:solidFill>
            <a:schemeClr val="bg1"/>
          </a:solidFill>
        </p:grpSpPr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9303BB8C-41AF-4F2C-8E7B-2454DA7D49E3}"/>
                </a:ext>
              </a:extLst>
            </p:cNvPr>
            <p:cNvSpPr/>
            <p:nvPr/>
          </p:nvSpPr>
          <p:spPr>
            <a:xfrm rot="16200000" flipV="1">
              <a:off x="251197" y="1840864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0BCDE6DD-93E6-4C00-AF79-FD68949134B3}"/>
                </a:ext>
              </a:extLst>
            </p:cNvPr>
            <p:cNvSpPr/>
            <p:nvPr/>
          </p:nvSpPr>
          <p:spPr>
            <a:xfrm rot="16200000" flipV="1">
              <a:off x="569712" y="4051850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D1EFFD12-5E8B-4A06-BF8C-ED119969A616}"/>
                </a:ext>
              </a:extLst>
            </p:cNvPr>
            <p:cNvCxnSpPr>
              <a:cxnSpLocks/>
            </p:cNvCxnSpPr>
            <p:nvPr/>
          </p:nvCxnSpPr>
          <p:spPr>
            <a:xfrm>
              <a:off x="300213" y="1898123"/>
              <a:ext cx="904695" cy="618433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8A874F66-3BEA-4515-AB65-E271139BDA61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-590778" y="99888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3B75179D-9B26-4C80-8052-97E1D0FB8141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1843686" y="-664727"/>
              <a:ext cx="1029933" cy="4063862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0130ABBE-6CA5-41C3-B26A-28B3E761010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310915" y="4060342"/>
              <a:ext cx="968366" cy="119293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0E4B0BA7-9C00-43BF-A992-242B81C1817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98823" y="1898123"/>
              <a:ext cx="424715" cy="207037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60848799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chtiger Kas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C1F08ED-317F-4C8E-8AC5-3645E77303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4190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4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C1F08ED-317F-4C8E-8AC5-3645E77303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EA445690-D26D-440C-9D0E-F82F09C82CE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194804-CEF4-4035-B33E-4EF8E4210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3C54532-92BF-41E0-A70B-068FF8F3CE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4E96D4-1518-41AA-84C0-9F0CCB9BAA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5149056" cy="3095625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E7AC7325-61E4-4525-94CC-1AA9B696624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59640" y="3033713"/>
            <a:ext cx="3779640" cy="917513"/>
          </a:xfrm>
          <a:solidFill>
            <a:schemeClr val="accent6"/>
          </a:solidFill>
        </p:spPr>
        <p:txBody>
          <a:bodyPr lIns="180000" tIns="180000" rIns="180000" bIns="180000">
            <a:spAutoFit/>
          </a:bodyPr>
          <a:lstStyle>
            <a:lvl1pPr marL="263525" indent="-263525">
              <a:buFont typeface="Symbol" panose="05050102010706020507" pitchFamily="18" charset="2"/>
              <a:buChar char="·"/>
              <a:tabLst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b="1">
                <a:solidFill>
                  <a:schemeClr val="tx1"/>
                </a:solidFill>
              </a:defRPr>
            </a:lvl1pPr>
            <a:lvl2pPr marL="0" indent="0">
              <a:buFont typeface="Symbol" panose="05050102010706020507" pitchFamily="18" charset="2"/>
              <a:buNone/>
              <a:defRPr b="1"/>
            </a:lvl2pPr>
            <a:lvl3pPr marL="357188" indent="-179388">
              <a:buFont typeface="Symbol" panose="05050102010706020507" pitchFamily="18" charset="2"/>
              <a:buChar char="·"/>
              <a:defRPr b="1"/>
            </a:lvl3pPr>
            <a:lvl4pPr marL="536575" indent="-179388">
              <a:buFont typeface="Symbol" panose="05050102010706020507" pitchFamily="18" charset="2"/>
              <a:buChar char="·"/>
              <a:defRPr b="1"/>
            </a:lvl4pPr>
            <a:lvl5pPr marL="714375" indent="-179388">
              <a:buFont typeface="Symbol" panose="05050102010706020507" pitchFamily="18" charset="2"/>
              <a:buChar char="·"/>
              <a:defRPr b="1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611598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arbvariante – Zwei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FC1FBC5-FA0E-4AA6-A1CC-83136BC436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6624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60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FBEF2925-1490-4BBB-95A6-386EAD1D2EB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Freihandform: Form 4">
            <a:extLst>
              <a:ext uri="{FF2B5EF4-FFF2-40B4-BE49-F238E27FC236}">
                <a16:creationId xmlns:a16="http://schemas.microsoft.com/office/drawing/2014/main" id="{ECBF5769-E800-4C5F-AEE0-ABFA36815E26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chemeClr val="accent2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CB89F4BA-2D89-4650-AD36-7CF36C2E174B}"/>
              </a:ext>
            </a:extLst>
          </p:cNvPr>
          <p:cNvGrpSpPr/>
          <p:nvPr userDrawn="1"/>
        </p:nvGrpSpPr>
        <p:grpSpPr>
          <a:xfrm>
            <a:off x="-310915" y="692467"/>
            <a:ext cx="4701499" cy="7389994"/>
            <a:chOff x="-310915" y="692467"/>
            <a:chExt cx="4701499" cy="7389994"/>
          </a:xfrm>
          <a:solidFill>
            <a:schemeClr val="bg1"/>
          </a:solidFill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7D65BF82-F093-4C2D-8D09-596318DC6138}"/>
                </a:ext>
              </a:extLst>
            </p:cNvPr>
            <p:cNvSpPr/>
            <p:nvPr/>
          </p:nvSpPr>
          <p:spPr>
            <a:xfrm rot="16200000" flipV="1">
              <a:off x="251197" y="1840864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805F3245-BC3A-484D-98AA-E342D96AD444}"/>
                </a:ext>
              </a:extLst>
            </p:cNvPr>
            <p:cNvSpPr/>
            <p:nvPr/>
          </p:nvSpPr>
          <p:spPr>
            <a:xfrm rot="16200000" flipV="1">
              <a:off x="569712" y="4051850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659AA07D-9E1B-4E07-9CFD-2B64E35DD36D}"/>
                </a:ext>
              </a:extLst>
            </p:cNvPr>
            <p:cNvCxnSpPr>
              <a:cxnSpLocks/>
            </p:cNvCxnSpPr>
            <p:nvPr/>
          </p:nvCxnSpPr>
          <p:spPr>
            <a:xfrm>
              <a:off x="300213" y="1898123"/>
              <a:ext cx="904695" cy="618433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52567DBE-FA7E-4482-B2B1-1386BEEB33E0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-590778" y="99888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16DC5BCF-FEC4-43C6-86A9-99196B1F5072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1843686" y="-664727"/>
              <a:ext cx="1029933" cy="4063862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6E126266-41D0-47A5-9EA9-AC5B08527E1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310915" y="4060342"/>
              <a:ext cx="968366" cy="119293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71F35310-9150-47D8-BE1A-82B5799F59E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98823" y="1898123"/>
              <a:ext cx="424715" cy="207037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A48B3652-095C-471A-A60B-C7BC05D6D3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74008CF-8A94-4D00-A56B-0B2963AB29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© Coding Akademie München GmbH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6ECCE352-32A7-4BAA-9224-B1CF399503F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4"/>
            <a:ext cx="10261600" cy="79948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EF7E0732-50F1-4773-9628-193EA0BBFDD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47738" y="5329856"/>
            <a:ext cx="10261600" cy="79948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63748DDE-C0C0-4535-96AC-601746B0A24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47738" y="4543195"/>
            <a:ext cx="10261600" cy="410530"/>
          </a:xfrm>
        </p:spPr>
        <p:txBody>
          <a:bodyPr>
            <a:spAutoFit/>
          </a:bodyPr>
          <a:lstStyle>
            <a:lvl1pPr>
              <a:spcAft>
                <a:spcPts val="0"/>
              </a:spcAft>
              <a:defRPr sz="2500" cap="all" baseline="0">
                <a:solidFill>
                  <a:schemeClr val="bg2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itle style</a:t>
            </a:r>
          </a:p>
        </p:txBody>
      </p:sp>
      <p:pic>
        <p:nvPicPr>
          <p:cNvPr id="22" name="Picture 21" descr="A picture containing building&#10;&#10;Description automatically generated">
            <a:extLst>
              <a:ext uri="{FF2B5EF4-FFF2-40B4-BE49-F238E27FC236}">
                <a16:creationId xmlns:a16="http://schemas.microsoft.com/office/drawing/2014/main" id="{B17EF088-183B-478E-9448-D43BBC0A864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4505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arbvariante und Stör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A78F2F31-45DA-4D1C-8AE7-0F558171EB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766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98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A78F2F31-45DA-4D1C-8AE7-0F558171EB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4482E814-A6FD-49BA-91D3-B4D306E6C57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Freihandform: Form 4">
            <a:extLst>
              <a:ext uri="{FF2B5EF4-FFF2-40B4-BE49-F238E27FC236}">
                <a16:creationId xmlns:a16="http://schemas.microsoft.com/office/drawing/2014/main" id="{2259AF66-F934-4705-8A7D-E43035AD9C52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rgbClr val="E8E1DC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6AED4B59-3EC5-4E5F-A4DB-BFA6968AC7A1}"/>
              </a:ext>
            </a:extLst>
          </p:cNvPr>
          <p:cNvGrpSpPr/>
          <p:nvPr userDrawn="1"/>
        </p:nvGrpSpPr>
        <p:grpSpPr>
          <a:xfrm>
            <a:off x="-105798" y="1166741"/>
            <a:ext cx="12465438" cy="5877208"/>
            <a:chOff x="-105798" y="1166741"/>
            <a:chExt cx="12465438" cy="5877208"/>
          </a:xfrm>
          <a:solidFill>
            <a:schemeClr val="bg1"/>
          </a:solidFill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FED14F64-9F1E-40B2-978E-B8A78804FD60}"/>
                </a:ext>
              </a:extLst>
            </p:cNvPr>
            <p:cNvSpPr/>
            <p:nvPr/>
          </p:nvSpPr>
          <p:spPr>
            <a:xfrm>
              <a:off x="11096724" y="5191609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8CD5D8A4-502D-4DB9-8FB4-2C7B25F1C9B5}"/>
                </a:ext>
              </a:extLst>
            </p:cNvPr>
            <p:cNvSpPr/>
            <p:nvPr/>
          </p:nvSpPr>
          <p:spPr>
            <a:xfrm>
              <a:off x="4985600" y="6029792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B6CB8F2C-4588-48BF-B7A8-4DAF56FBA0CC}"/>
                </a:ext>
              </a:extLst>
            </p:cNvPr>
            <p:cNvCxnSpPr>
              <a:stCxn id="20" idx="2"/>
            </p:cNvCxnSpPr>
            <p:nvPr/>
          </p:nvCxnSpPr>
          <p:spPr>
            <a:xfrm flipH="1">
              <a:off x="-105798" y="6087052"/>
              <a:ext cx="5091398" cy="67768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B4AB27FD-858F-42A2-B632-F23226412071}"/>
                </a:ext>
              </a:extLst>
            </p:cNvPr>
            <p:cNvCxnSpPr>
              <a:cxnSpLocks/>
              <a:endCxn id="20" idx="2"/>
            </p:cNvCxnSpPr>
            <p:nvPr/>
          </p:nvCxnSpPr>
          <p:spPr>
            <a:xfrm flipH="1">
              <a:off x="4985600" y="5258319"/>
              <a:ext cx="6184336" cy="82873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667EB2BE-5AD5-4DA8-B914-2997651CA88C}"/>
                </a:ext>
              </a:extLst>
            </p:cNvPr>
            <p:cNvCxnSpPr>
              <a:cxnSpLocks/>
            </p:cNvCxnSpPr>
            <p:nvPr/>
          </p:nvCxnSpPr>
          <p:spPr>
            <a:xfrm>
              <a:off x="11153984" y="524886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DCA2E591-9A1D-4746-8562-7936560B2E5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169936" y="1166741"/>
              <a:ext cx="1029933" cy="4063862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720F3718-7CC4-47F1-B043-91C3F16D1F5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78155" y="6075583"/>
              <a:ext cx="1076732" cy="968366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31848609-C511-4866-BE4F-81851EE90F5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829546" y="5257112"/>
              <a:ext cx="4324438" cy="176826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F5194804-CEF4-4035-B33E-4EF8E4210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3C54532-92BF-41E0-A70B-068FF8F3CE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4E96D4-1518-41AA-84C0-9F0CCB9BAA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5149056" cy="3095625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E7AC7325-61E4-4525-94CC-1AA9B696624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199279" y="3037872"/>
            <a:ext cx="3240000" cy="723900"/>
          </a:xfrm>
          <a:solidFill>
            <a:schemeClr val="accent6"/>
          </a:solidFill>
        </p:spPr>
        <p:txBody>
          <a:bodyPr lIns="180000" tIns="180000" rIns="180000" bIns="180000" anchor="ctr"/>
          <a:lstStyle>
            <a:lvl1pPr marL="0" indent="0" algn="ctr">
              <a:buFont typeface="Symbol" panose="05050102010706020507" pitchFamily="18" charset="2"/>
              <a:buNone/>
              <a:tabLst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b="0" cap="all" baseline="0">
                <a:solidFill>
                  <a:schemeClr val="tx1"/>
                </a:solidFill>
              </a:defRPr>
            </a:lvl1pPr>
            <a:lvl2pPr marL="0" indent="0">
              <a:buFont typeface="Symbol" panose="05050102010706020507" pitchFamily="18" charset="2"/>
              <a:buNone/>
              <a:defRPr b="1"/>
            </a:lvl2pPr>
            <a:lvl3pPr marL="357188" indent="-179388">
              <a:buFont typeface="Symbol" panose="05050102010706020507" pitchFamily="18" charset="2"/>
              <a:buChar char="·"/>
              <a:defRPr b="1"/>
            </a:lvl3pPr>
            <a:lvl4pPr marL="536575" indent="-179388">
              <a:buFont typeface="Symbol" panose="05050102010706020507" pitchFamily="18" charset="2"/>
              <a:buChar char="·"/>
              <a:defRPr b="1"/>
            </a:lvl4pPr>
            <a:lvl5pPr marL="714375" indent="-179388">
              <a:buFont typeface="Symbol" panose="05050102010706020507" pitchFamily="18" charset="2"/>
              <a:buChar char="·"/>
              <a:defRPr b="1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27" name="Picture 26" descr="A picture containing building&#10;&#10;Description automatically generated">
            <a:extLst>
              <a:ext uri="{FF2B5EF4-FFF2-40B4-BE49-F238E27FC236}">
                <a16:creationId xmlns:a16="http://schemas.microsoft.com/office/drawing/2014/main" id="{E65CBDFF-84C3-4684-A50D-76C6683593B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339078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FE87AE4-D3DA-4B94-B821-B1DA0E7514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586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22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FE87AE4-D3DA-4B94-B821-B1DA0E7514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70E5995-725E-46B2-BEFB-11F2FE918D2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194804-CEF4-4035-B33E-4EF8E4210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3C54532-92BF-41E0-A70B-068FF8F3CE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4E96D4-1518-41AA-84C0-9F0CCB9BAA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10261600" cy="3095625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accent2"/>
                </a:solidFill>
              </a:defRPr>
            </a:lvl1pPr>
            <a:lvl2pPr marL="0" indent="0">
              <a:spcAft>
                <a:spcPts val="0"/>
              </a:spcAft>
              <a:buNone/>
              <a:defRPr b="1">
                <a:solidFill>
                  <a:srgbClr val="85850C"/>
                </a:solidFill>
              </a:defRPr>
            </a:lvl2pPr>
            <a:lvl3pPr marL="0" indent="0">
              <a:spcAft>
                <a:spcPts val="0"/>
              </a:spcAft>
              <a:buNone/>
              <a:defRPr b="1">
                <a:solidFill>
                  <a:srgbClr val="010180"/>
                </a:solidFill>
              </a:defRPr>
            </a:lvl3pPr>
            <a:lvl4pPr marL="0" indent="0">
              <a:spcAft>
                <a:spcPts val="0"/>
              </a:spcAft>
              <a:buNone/>
              <a:defRPr b="1">
                <a:solidFill>
                  <a:srgbClr val="1D8748"/>
                </a:solidFill>
              </a:defRPr>
            </a:lvl4pPr>
            <a:lvl5pPr marL="0" indent="0">
              <a:spcAft>
                <a:spcPts val="0"/>
              </a:spcAft>
              <a:buNone/>
              <a:defRPr b="1">
                <a:solidFill>
                  <a:srgbClr val="660E7A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4933399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anz heller Farbvaria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3190AF5-C961-40FF-8EB4-96F563C5BED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47138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46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3190AF5-C961-40FF-8EB4-96F563C5BE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9B6C2CC-4A7A-4C4A-8528-B06D11CB5EA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Freihandform: Form 4">
            <a:extLst>
              <a:ext uri="{FF2B5EF4-FFF2-40B4-BE49-F238E27FC236}">
                <a16:creationId xmlns:a16="http://schemas.microsoft.com/office/drawing/2014/main" id="{1FFA70C8-BDD8-4F96-BB91-D62CB6489419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rgbClr val="F7F5F1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6B25356C-D8D2-4B4C-8C10-C5DAE4277BB8}"/>
              </a:ext>
            </a:extLst>
          </p:cNvPr>
          <p:cNvGrpSpPr/>
          <p:nvPr userDrawn="1"/>
        </p:nvGrpSpPr>
        <p:grpSpPr>
          <a:xfrm>
            <a:off x="-310915" y="692467"/>
            <a:ext cx="4701499" cy="7389994"/>
            <a:chOff x="-310915" y="692467"/>
            <a:chExt cx="4701499" cy="7389994"/>
          </a:xfrm>
          <a:solidFill>
            <a:schemeClr val="bg1"/>
          </a:solidFill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AD8B6C6F-FD14-4AF5-8AF1-B567B864897B}"/>
                </a:ext>
              </a:extLst>
            </p:cNvPr>
            <p:cNvSpPr/>
            <p:nvPr/>
          </p:nvSpPr>
          <p:spPr>
            <a:xfrm rot="16200000" flipV="1">
              <a:off x="251197" y="1840864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83CFBA0F-8272-4470-9F99-8A1B309C6BF7}"/>
                </a:ext>
              </a:extLst>
            </p:cNvPr>
            <p:cNvSpPr/>
            <p:nvPr/>
          </p:nvSpPr>
          <p:spPr>
            <a:xfrm rot="16200000" flipV="1">
              <a:off x="569712" y="4051850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5F0D158A-F271-48D6-9CA0-F2C098B8ED72}"/>
                </a:ext>
              </a:extLst>
            </p:cNvPr>
            <p:cNvCxnSpPr>
              <a:cxnSpLocks/>
            </p:cNvCxnSpPr>
            <p:nvPr/>
          </p:nvCxnSpPr>
          <p:spPr>
            <a:xfrm>
              <a:off x="300213" y="1898123"/>
              <a:ext cx="904695" cy="618433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E1CC215C-B987-401B-8744-8380D56694E7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-590778" y="99888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5E68BD5F-CEB8-4E9A-BC4C-57C77B94D76F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1843686" y="-664727"/>
              <a:ext cx="1029933" cy="4063862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FEDC2362-E7FA-4821-BFD9-65D60ED6D9D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310915" y="4060342"/>
              <a:ext cx="968366" cy="119293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3A8D35AD-0DD7-4201-9712-1F19EDE778C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98823" y="1898123"/>
              <a:ext cx="424715" cy="207037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F5194804-CEF4-4035-B33E-4EF8E4210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3C54532-92BF-41E0-A70B-068FF8F3CE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4E96D4-1518-41AA-84C0-9F0CCB9BAA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10261600" cy="30956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pic>
        <p:nvPicPr>
          <p:cNvPr id="16" name="Picture 15" descr="A picture containing building&#10;&#10;Description automatically generated">
            <a:extLst>
              <a:ext uri="{FF2B5EF4-FFF2-40B4-BE49-F238E27FC236}">
                <a16:creationId xmlns:a16="http://schemas.microsoft.com/office/drawing/2014/main" id="{27F739B9-9923-4D66-8BF6-65169106C0B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726358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und Text (Variante 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04A1A60-F6CA-4327-B13E-F91E1552BE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67555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70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04A1A60-F6CA-4327-B13E-F91E1552BE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CAE9E515-2F28-41DC-BFAE-E2DAEC28DE8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Freihandform: Form 4">
            <a:extLst>
              <a:ext uri="{FF2B5EF4-FFF2-40B4-BE49-F238E27FC236}">
                <a16:creationId xmlns:a16="http://schemas.microsoft.com/office/drawing/2014/main" id="{0130A2B9-13B3-435E-B671-552BAB16C0DB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rgbClr val="E8E1DC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pic>
        <p:nvPicPr>
          <p:cNvPr id="8" name="Picture 7" descr="A person looking at the camera&#10;&#10;Description automatically generated">
            <a:extLst>
              <a:ext uri="{FF2B5EF4-FFF2-40B4-BE49-F238E27FC236}">
                <a16:creationId xmlns:a16="http://schemas.microsoft.com/office/drawing/2014/main" id="{0ED91E6F-6487-4B37-8370-5E94CD53103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224000"/>
            <a:ext cx="12193588" cy="2740785"/>
          </a:xfrm>
          <a:prstGeom prst="rect">
            <a:avLst/>
          </a:prstGeom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CA9FC0CC-9033-4D8A-A6BC-A002B24C0BD2}"/>
              </a:ext>
            </a:extLst>
          </p:cNvPr>
          <p:cNvGrpSpPr/>
          <p:nvPr userDrawn="1"/>
        </p:nvGrpSpPr>
        <p:grpSpPr>
          <a:xfrm>
            <a:off x="-105798" y="1166741"/>
            <a:ext cx="12465438" cy="5877208"/>
            <a:chOff x="-105798" y="1166741"/>
            <a:chExt cx="12465438" cy="5877208"/>
          </a:xfrm>
          <a:solidFill>
            <a:schemeClr val="bg1"/>
          </a:solidFill>
        </p:grpSpPr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60B9FC7D-7671-4359-868C-C18751149F40}"/>
                </a:ext>
              </a:extLst>
            </p:cNvPr>
            <p:cNvSpPr/>
            <p:nvPr/>
          </p:nvSpPr>
          <p:spPr>
            <a:xfrm>
              <a:off x="11096724" y="5191609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FC7579E3-F175-4297-A6C3-5E9519499DE0}"/>
                </a:ext>
              </a:extLst>
            </p:cNvPr>
            <p:cNvSpPr/>
            <p:nvPr/>
          </p:nvSpPr>
          <p:spPr>
            <a:xfrm>
              <a:off x="4985600" y="6029792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301C1388-D348-4EFE-BB0A-2538F0008C56}"/>
                </a:ext>
              </a:extLst>
            </p:cNvPr>
            <p:cNvCxnSpPr>
              <a:stCxn id="13" idx="2"/>
            </p:cNvCxnSpPr>
            <p:nvPr/>
          </p:nvCxnSpPr>
          <p:spPr>
            <a:xfrm flipH="1">
              <a:off x="-105798" y="6087052"/>
              <a:ext cx="5091398" cy="67768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9184C34E-E1B6-4430-AC8C-320A45C50A02}"/>
                </a:ext>
              </a:extLst>
            </p:cNvPr>
            <p:cNvCxnSpPr>
              <a:cxnSpLocks/>
              <a:endCxn id="13" idx="2"/>
            </p:cNvCxnSpPr>
            <p:nvPr/>
          </p:nvCxnSpPr>
          <p:spPr>
            <a:xfrm flipH="1">
              <a:off x="4985600" y="5258319"/>
              <a:ext cx="6184336" cy="82873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8EC5E628-AC25-45A9-BC32-6FB82C2DD70C}"/>
                </a:ext>
              </a:extLst>
            </p:cNvPr>
            <p:cNvCxnSpPr>
              <a:cxnSpLocks/>
            </p:cNvCxnSpPr>
            <p:nvPr/>
          </p:nvCxnSpPr>
          <p:spPr>
            <a:xfrm>
              <a:off x="11153984" y="524886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AD03EF75-8E6F-492B-9C80-29C114C0369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169936" y="1166741"/>
              <a:ext cx="1029933" cy="4063862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89FCBD96-5C9A-4FCF-B7F5-23C75481F67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78155" y="6075583"/>
              <a:ext cx="1076732" cy="968366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0CCAE83F-C8C0-48C7-9BDF-8F066C3A5FD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829546" y="5257112"/>
              <a:ext cx="4324438" cy="176826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E37E2913-91A6-47CD-96F6-AF7139995A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8" y="1946733"/>
            <a:ext cx="3705542" cy="769441"/>
          </a:xfr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lang="de-DE" kern="0" dirty="0">
                <a:solidFill>
                  <a:schemeClr val="accent2"/>
                </a:solidFill>
                <a:ea typeface="+mn-ea"/>
              </a:defRPr>
            </a:lvl1pPr>
          </a:lstStyle>
          <a:p>
            <a:pPr lvl="0" defTabSz="914400" eaLnBrk="1" latinLnBrk="0"/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B75728D-E669-449B-AEB3-9AC3A288A0E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0AC4F1E0-5DE6-4A2B-BD02-9129EACDDD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4409954"/>
            <a:ext cx="10261600" cy="1719384"/>
          </a:xfrm>
        </p:spPr>
        <p:txBody>
          <a:bodyPr/>
          <a:lstStyle>
            <a:lvl1pPr>
              <a:defRPr sz="1800" b="0">
                <a:solidFill>
                  <a:schemeClr val="accent2"/>
                </a:solidFill>
              </a:defRPr>
            </a:lvl1pPr>
            <a:lvl2pPr>
              <a:defRPr sz="1800" b="0">
                <a:solidFill>
                  <a:schemeClr val="accent2"/>
                </a:solidFill>
              </a:defRPr>
            </a:lvl2pPr>
            <a:lvl3pPr>
              <a:defRPr sz="1800" b="0">
                <a:solidFill>
                  <a:schemeClr val="accent2"/>
                </a:solidFill>
              </a:defRPr>
            </a:lvl3pPr>
            <a:lvl4pPr>
              <a:defRPr sz="1800" b="0"/>
            </a:lvl4pPr>
            <a:lvl5pPr>
              <a:defRPr sz="1800" b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pic>
        <p:nvPicPr>
          <p:cNvPr id="22" name="Picture 21" descr="A picture containing building&#10;&#10;Description automatically generated">
            <a:extLst>
              <a:ext uri="{FF2B5EF4-FFF2-40B4-BE49-F238E27FC236}">
                <a16:creationId xmlns:a16="http://schemas.microsoft.com/office/drawing/2014/main" id="{2202BDBF-E0F4-420D-A674-ED627E9B1DF6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200051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(Variante 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796E430-E199-42D1-B750-00CFE32E2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778953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94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796E430-E199-42D1-B750-00CFE32E2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72C0A64-6206-47F9-B774-144C1A5CFA2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7" name="Picture 6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302A2FC3-8F7D-4427-BDC0-9534A9C86B1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7192" t="9775" r="9776"/>
          <a:stretch/>
        </p:blipFill>
        <p:spPr>
          <a:xfrm flipH="1">
            <a:off x="0" y="1223998"/>
            <a:ext cx="5400720" cy="563400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EBF67F5-C9FB-4443-A3BF-5AD5D375E6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96000" y="1946735"/>
            <a:ext cx="5413338" cy="786305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5EA2EC6-426A-4C23-8F5B-477952BFCF9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51ABBD5B-16B2-4EE3-AEE1-1DEF4D8004C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96000" y="3033713"/>
            <a:ext cx="5413338" cy="3095625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9195141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82BEA0F-D748-4945-B265-C1D001BBF3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769071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18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82BEA0F-D748-4945-B265-C1D001BBF3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6D9E8A8-96EC-45DC-98B9-24C93A48DEF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A3BFE3B-ABB1-4EA4-A211-413BCDDCD35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l="14487" t="34330" r="14457" b="10465"/>
          <a:stretch/>
        </p:blipFill>
        <p:spPr>
          <a:xfrm>
            <a:off x="4611" y="0"/>
            <a:ext cx="12188977" cy="6858000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253EF863-8B2B-47E2-B003-6FE342397862}"/>
              </a:ext>
            </a:extLst>
          </p:cNvPr>
          <p:cNvSpPr txBox="1">
            <a:spLocks/>
          </p:cNvSpPr>
          <p:nvPr userDrawn="1"/>
        </p:nvSpPr>
        <p:spPr>
          <a:xfrm>
            <a:off x="947738" y="3565463"/>
            <a:ext cx="10261600" cy="307777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ctr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bg1"/>
                </a:solidFill>
                <a:latin typeface="Arial" pitchFamily="18"/>
                <a:cs typeface="Arial" pitchFamily="18"/>
              </a:defRPr>
            </a:lvl1pPr>
          </a:lstStyle>
          <a:p>
            <a:r>
              <a:rPr lang="de-DE" sz="2000" kern="0" dirty="0">
                <a:solidFill>
                  <a:schemeClr val="bg1"/>
                </a:solidFill>
              </a:rPr>
              <a:t>VIELEN DANK FÜR IHRE AUFMERKSAMKEIT.</a:t>
            </a:r>
          </a:p>
        </p:txBody>
      </p:sp>
    </p:spTree>
    <p:extLst>
      <p:ext uri="{BB962C8B-B14F-4D97-AF65-F5344CB8AC3E}">
        <p14:creationId xmlns:p14="http://schemas.microsoft.com/office/powerpoint/2010/main" val="365515700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Farbvariante -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3190AF5-C961-40FF-8EB4-96F563C5BED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42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3190AF5-C961-40FF-8EB4-96F563C5BE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9B6C2CC-4A7A-4C4A-8528-B06D11CB5EA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Freihandform: Form 4">
            <a:extLst>
              <a:ext uri="{FF2B5EF4-FFF2-40B4-BE49-F238E27FC236}">
                <a16:creationId xmlns:a16="http://schemas.microsoft.com/office/drawing/2014/main" id="{1FFA70C8-BDD8-4F96-BB91-D62CB6489419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rgbClr val="F7F5F1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6B25356C-D8D2-4B4C-8C10-C5DAE4277BB8}"/>
              </a:ext>
            </a:extLst>
          </p:cNvPr>
          <p:cNvGrpSpPr/>
          <p:nvPr userDrawn="1"/>
        </p:nvGrpSpPr>
        <p:grpSpPr>
          <a:xfrm>
            <a:off x="-310915" y="692467"/>
            <a:ext cx="4701499" cy="7389994"/>
            <a:chOff x="-310915" y="692467"/>
            <a:chExt cx="4701499" cy="7389994"/>
          </a:xfrm>
          <a:solidFill>
            <a:schemeClr val="bg1"/>
          </a:solidFill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AD8B6C6F-FD14-4AF5-8AF1-B567B864897B}"/>
                </a:ext>
              </a:extLst>
            </p:cNvPr>
            <p:cNvSpPr/>
            <p:nvPr/>
          </p:nvSpPr>
          <p:spPr>
            <a:xfrm rot="16200000" flipV="1">
              <a:off x="251197" y="1840864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83CFBA0F-8272-4470-9F99-8A1B309C6BF7}"/>
                </a:ext>
              </a:extLst>
            </p:cNvPr>
            <p:cNvSpPr/>
            <p:nvPr/>
          </p:nvSpPr>
          <p:spPr>
            <a:xfrm rot="16200000" flipV="1">
              <a:off x="569712" y="4051850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5F0D158A-F271-48D6-9CA0-F2C098B8ED72}"/>
                </a:ext>
              </a:extLst>
            </p:cNvPr>
            <p:cNvCxnSpPr>
              <a:cxnSpLocks/>
            </p:cNvCxnSpPr>
            <p:nvPr/>
          </p:nvCxnSpPr>
          <p:spPr>
            <a:xfrm>
              <a:off x="300213" y="1898123"/>
              <a:ext cx="904695" cy="618433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E1CC215C-B987-401B-8744-8380D56694E7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-590778" y="99888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5E68BD5F-CEB8-4E9A-BC4C-57C77B94D76F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1843686" y="-664727"/>
              <a:ext cx="1029933" cy="4063862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FEDC2362-E7FA-4821-BFD9-65D60ED6D9D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310915" y="4060342"/>
              <a:ext cx="968366" cy="119293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3A8D35AD-0DD7-4201-9712-1F19EDE778C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98823" y="1898123"/>
              <a:ext cx="424715" cy="207037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F5194804-CEF4-4035-B33E-4EF8E4210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3C54532-92BF-41E0-A70B-068FF8F3CE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4E96D4-1518-41AA-84C0-9F0CCB9BAA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10261600" cy="30956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pic>
        <p:nvPicPr>
          <p:cNvPr id="16" name="Picture 15" descr="A picture containing building&#10;&#10;Description automatically generated">
            <a:extLst>
              <a:ext uri="{FF2B5EF4-FFF2-40B4-BE49-F238E27FC236}">
                <a16:creationId xmlns:a16="http://schemas.microsoft.com/office/drawing/2014/main" id="{27F739B9-9923-4D66-8BF6-65169106C0B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701142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und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B23B5A8-D5FC-4407-A2A2-C3481861E3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12461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74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B8FCC894-EC3C-4D43-8836-DDF70355D8B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1" name="Picture 10" descr="A person flying through the air on a snow covered mountain&#10;&#10;Description automatically generated">
            <a:extLst>
              <a:ext uri="{FF2B5EF4-FFF2-40B4-BE49-F238E27FC236}">
                <a16:creationId xmlns:a16="http://schemas.microsoft.com/office/drawing/2014/main" id="{5810151F-6DAF-4E76-BF6A-61CBC2BE41B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822"/>
          <a:stretch/>
        </p:blipFill>
        <p:spPr>
          <a:xfrm>
            <a:off x="0" y="1224000"/>
            <a:ext cx="12193588" cy="5634000"/>
          </a:xfrm>
          <a:prstGeom prst="rect">
            <a:avLst/>
          </a:prstGeom>
        </p:spPr>
      </p:pic>
      <p:sp>
        <p:nvSpPr>
          <p:cNvPr id="5" name="Freihandform: Form 2">
            <a:extLst>
              <a:ext uri="{FF2B5EF4-FFF2-40B4-BE49-F238E27FC236}">
                <a16:creationId xmlns:a16="http://schemas.microsoft.com/office/drawing/2014/main" id="{2691C14E-39AF-4132-8C91-12542F1EF30A}"/>
              </a:ext>
            </a:extLst>
          </p:cNvPr>
          <p:cNvSpPr/>
          <p:nvPr userDrawn="1"/>
        </p:nvSpPr>
        <p:spPr>
          <a:xfrm>
            <a:off x="0" y="0"/>
            <a:ext cx="12193559" cy="1224000"/>
          </a:xfrm>
          <a:custGeom>
            <a:avLst>
              <a:gd name="f0" fmla="val 28"/>
            </a:avLst>
            <a:gdLst>
              <a:gd name="f1" fmla="val 10800000"/>
              <a:gd name="f2" fmla="val 5400000"/>
              <a:gd name="f3" fmla="val 1620000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val 45"/>
              <a:gd name="f10" fmla="val 10800"/>
              <a:gd name="f11" fmla="val -2147483647"/>
              <a:gd name="f12" fmla="val 2147483647"/>
              <a:gd name="f13" fmla="abs f4"/>
              <a:gd name="f14" fmla="abs f5"/>
              <a:gd name="f15" fmla="abs f6"/>
              <a:gd name="f16" fmla="*/ f8 1 180"/>
              <a:gd name="f17" fmla="pin 0 f0 10800"/>
              <a:gd name="f18" fmla="+- 0 0 f2"/>
              <a:gd name="f19" fmla="?: f13 f4 1"/>
              <a:gd name="f20" fmla="?: f14 f5 1"/>
              <a:gd name="f21" fmla="?: f15 f6 1"/>
              <a:gd name="f22" fmla="*/ f9 f16 1"/>
              <a:gd name="f23" fmla="+- f7 f17 0"/>
              <a:gd name="f24" fmla="*/ f19 1 21600"/>
              <a:gd name="f25" fmla="*/ f20 1 21600"/>
              <a:gd name="f26" fmla="*/ 21600 f19 1"/>
              <a:gd name="f27" fmla="*/ 21600 f20 1"/>
              <a:gd name="f28" fmla="+- 0 0 f22"/>
              <a:gd name="f29" fmla="min f25 f24"/>
              <a:gd name="f30" fmla="*/ f26 1 f21"/>
              <a:gd name="f31" fmla="*/ f27 1 f21"/>
              <a:gd name="f32" fmla="*/ f28 f1 1"/>
              <a:gd name="f33" fmla="*/ f32 1 f8"/>
              <a:gd name="f34" fmla="+- f31 0 f17"/>
              <a:gd name="f35" fmla="+- f30 0 f17"/>
              <a:gd name="f36" fmla="*/ f17 f29 1"/>
              <a:gd name="f37" fmla="*/ f7 f29 1"/>
              <a:gd name="f38" fmla="*/ f23 f29 1"/>
              <a:gd name="f39" fmla="*/ f31 f29 1"/>
              <a:gd name="f40" fmla="*/ f30 f29 1"/>
              <a:gd name="f41" fmla="+- f33 0 f2"/>
              <a:gd name="f42" fmla="+- f37 0 f38"/>
              <a:gd name="f43" fmla="+- f38 0 f37"/>
              <a:gd name="f44" fmla="*/ f34 f29 1"/>
              <a:gd name="f45" fmla="*/ f35 f29 1"/>
              <a:gd name="f46" fmla="cos 1 f41"/>
              <a:gd name="f47" fmla="abs f42"/>
              <a:gd name="f48" fmla="abs f43"/>
              <a:gd name="f49" fmla="?: f42 f18 f2"/>
              <a:gd name="f50" fmla="?: f42 f2 f18"/>
              <a:gd name="f51" fmla="?: f42 f3 f2"/>
              <a:gd name="f52" fmla="?: f42 f2 f3"/>
              <a:gd name="f53" fmla="+- f39 0 f44"/>
              <a:gd name="f54" fmla="?: f43 f18 f2"/>
              <a:gd name="f55" fmla="?: f43 f2 f18"/>
              <a:gd name="f56" fmla="+- f40 0 f45"/>
              <a:gd name="f57" fmla="+- f44 0 f39"/>
              <a:gd name="f58" fmla="+- f45 0 f40"/>
              <a:gd name="f59" fmla="?: f42 0 f1"/>
              <a:gd name="f60" fmla="?: f42 f1 0"/>
              <a:gd name="f61" fmla="+- 0 0 f46"/>
              <a:gd name="f62" fmla="?: f42 f52 f51"/>
              <a:gd name="f63" fmla="?: f42 f51 f52"/>
              <a:gd name="f64" fmla="?: f43 f50 f49"/>
              <a:gd name="f65" fmla="abs f53"/>
              <a:gd name="f66" fmla="?: f53 0 f1"/>
              <a:gd name="f67" fmla="?: f53 f1 0"/>
              <a:gd name="f68" fmla="?: f53 f54 f55"/>
              <a:gd name="f69" fmla="abs f56"/>
              <a:gd name="f70" fmla="abs f57"/>
              <a:gd name="f71" fmla="?: f56 f18 f2"/>
              <a:gd name="f72" fmla="?: f56 f2 f18"/>
              <a:gd name="f73" fmla="?: f56 f3 f2"/>
              <a:gd name="f74" fmla="?: f56 f2 f3"/>
              <a:gd name="f75" fmla="abs f58"/>
              <a:gd name="f76" fmla="?: f58 f18 f2"/>
              <a:gd name="f77" fmla="?: f58 f2 f18"/>
              <a:gd name="f78" fmla="?: f58 f60 f59"/>
              <a:gd name="f79" fmla="?: f58 f59 f60"/>
              <a:gd name="f80" fmla="*/ f17 f61 1"/>
              <a:gd name="f81" fmla="?: f43 f63 f62"/>
              <a:gd name="f82" fmla="?: f43 f67 f66"/>
              <a:gd name="f83" fmla="?: f43 f66 f67"/>
              <a:gd name="f84" fmla="?: f56 f74 f73"/>
              <a:gd name="f85" fmla="?: f56 f73 f74"/>
              <a:gd name="f86" fmla="?: f57 f72 f71"/>
              <a:gd name="f87" fmla="?: f42 f78 f79"/>
              <a:gd name="f88" fmla="?: f42 f76 f77"/>
              <a:gd name="f89" fmla="*/ f80 3163 1"/>
              <a:gd name="f90" fmla="?: f53 f82 f83"/>
              <a:gd name="f91" fmla="?: f57 f85 f84"/>
              <a:gd name="f92" fmla="*/ f89 1 7636"/>
              <a:gd name="f93" fmla="+- f7 f92 0"/>
              <a:gd name="f94" fmla="+- f30 0 f92"/>
              <a:gd name="f95" fmla="+- f31 0 f92"/>
              <a:gd name="f96" fmla="*/ f93 f29 1"/>
              <a:gd name="f97" fmla="*/ f94 f29 1"/>
              <a:gd name="f98" fmla="*/ f95 f29 1"/>
            </a:gdLst>
            <a:ahLst>
              <a:ahXY gdRefX="f0" minX="f7" maxX="f10">
                <a:pos x="f36" y="f37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96" t="f96" r="f97" b="f98"/>
            <a:pathLst>
              <a:path>
                <a:moveTo>
                  <a:pt x="f38" y="f37"/>
                </a:moveTo>
                <a:arcTo wR="f47" hR="f48" stAng="f81" swAng="f64"/>
                <a:lnTo>
                  <a:pt x="f37" y="f44"/>
                </a:lnTo>
                <a:arcTo wR="f48" hR="f65" stAng="f90" swAng="f68"/>
                <a:lnTo>
                  <a:pt x="f45" y="f39"/>
                </a:lnTo>
                <a:arcTo wR="f69" hR="f70" stAng="f91" swAng="f86"/>
                <a:lnTo>
                  <a:pt x="f40" y="f38"/>
                </a:lnTo>
                <a:arcTo wR="f75" hR="f47" stAng="f87" swAng="f88"/>
                <a:close/>
              </a:path>
            </a:pathLst>
          </a:custGeom>
          <a:solidFill>
            <a:srgbClr val="FFFFFF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3C0602B-2707-413D-BC93-3258944F80A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pic>
        <p:nvPicPr>
          <p:cNvPr id="12" name="Picture 11" descr="A picture containing building&#10;&#10;Description automatically generated">
            <a:extLst>
              <a:ext uri="{FF2B5EF4-FFF2-40B4-BE49-F238E27FC236}">
                <a16:creationId xmlns:a16="http://schemas.microsoft.com/office/drawing/2014/main" id="{7672403B-842A-49C6-8BEB-4D6B518EBD9F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  <p:grpSp>
        <p:nvGrpSpPr>
          <p:cNvPr id="20" name="Group 19">
            <a:extLst>
              <a:ext uri="{FF2B5EF4-FFF2-40B4-BE49-F238E27FC236}">
                <a16:creationId xmlns:a16="http://schemas.microsoft.com/office/drawing/2014/main" id="{B1ACA0BD-5512-4562-97BF-68ECC8FD9F4D}"/>
              </a:ext>
            </a:extLst>
          </p:cNvPr>
          <p:cNvGrpSpPr/>
          <p:nvPr userDrawn="1"/>
        </p:nvGrpSpPr>
        <p:grpSpPr>
          <a:xfrm>
            <a:off x="-310915" y="692467"/>
            <a:ext cx="4701499" cy="7389994"/>
            <a:chOff x="-310915" y="692467"/>
            <a:chExt cx="4701499" cy="7389994"/>
          </a:xfrm>
          <a:solidFill>
            <a:schemeClr val="bg1"/>
          </a:solidFill>
        </p:grpSpPr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9303BB8C-41AF-4F2C-8E7B-2454DA7D49E3}"/>
                </a:ext>
              </a:extLst>
            </p:cNvPr>
            <p:cNvSpPr/>
            <p:nvPr/>
          </p:nvSpPr>
          <p:spPr>
            <a:xfrm rot="16200000" flipV="1">
              <a:off x="251197" y="1840864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0BCDE6DD-93E6-4C00-AF79-FD68949134B3}"/>
                </a:ext>
              </a:extLst>
            </p:cNvPr>
            <p:cNvSpPr/>
            <p:nvPr/>
          </p:nvSpPr>
          <p:spPr>
            <a:xfrm rot="16200000" flipV="1">
              <a:off x="569712" y="4051850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D1EFFD12-5E8B-4A06-BF8C-ED119969A616}"/>
                </a:ext>
              </a:extLst>
            </p:cNvPr>
            <p:cNvCxnSpPr>
              <a:cxnSpLocks/>
            </p:cNvCxnSpPr>
            <p:nvPr/>
          </p:nvCxnSpPr>
          <p:spPr>
            <a:xfrm>
              <a:off x="300213" y="1898123"/>
              <a:ext cx="904695" cy="618433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8A874F66-3BEA-4515-AB65-E271139BDA61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-590778" y="99888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3B75179D-9B26-4C80-8052-97E1D0FB8141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1843686" y="-664727"/>
              <a:ext cx="1029933" cy="4063862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0130ABBE-6CA5-41C3-B26A-28B3E761010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310915" y="4060342"/>
              <a:ext cx="968366" cy="119293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0E4B0BA7-9C00-43BF-A992-242B81C1817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98823" y="1898123"/>
              <a:ext cx="424715" cy="207037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B4E6DFDD-3D97-4EC1-BAC1-AFC3E87A1AB7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1223963"/>
            <a:ext cx="12193588" cy="5634037"/>
          </a:xfrm>
          <a:solidFill>
            <a:schemeClr val="accent2">
              <a:alpha val="20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Bildplatzhalter</a:t>
            </a:r>
            <a:r>
              <a:rPr lang="en-GB" dirty="0"/>
              <a:t> – </a:t>
            </a:r>
            <a:r>
              <a:rPr lang="en-GB" dirty="0" err="1"/>
              <a:t>Neues</a:t>
            </a:r>
            <a:r>
              <a:rPr lang="en-GB" dirty="0"/>
              <a:t> Bild </a:t>
            </a:r>
            <a:r>
              <a:rPr lang="en-GB" dirty="0" err="1"/>
              <a:t>durch</a:t>
            </a:r>
            <a:r>
              <a:rPr lang="en-GB" dirty="0"/>
              <a:t> </a:t>
            </a:r>
            <a:r>
              <a:rPr lang="en-GB" dirty="0" err="1"/>
              <a:t>Klicken</a:t>
            </a:r>
            <a:r>
              <a:rPr lang="en-GB" dirty="0"/>
              <a:t> </a:t>
            </a:r>
            <a:r>
              <a:rPr lang="en-GB" dirty="0" err="1"/>
              <a:t>einfügen</a:t>
            </a:r>
            <a:r>
              <a:rPr lang="en-GB" dirty="0"/>
              <a:t>, </a:t>
            </a:r>
            <a:r>
              <a:rPr lang="en-GB" dirty="0" err="1"/>
              <a:t>oder</a:t>
            </a:r>
            <a:r>
              <a:rPr lang="en-GB" dirty="0"/>
              <a:t> </a:t>
            </a:r>
            <a:r>
              <a:rPr lang="en-GB" dirty="0" err="1"/>
              <a:t>löschen</a:t>
            </a:r>
            <a:r>
              <a:rPr lang="en-GB" dirty="0"/>
              <a:t> falls </a:t>
            </a:r>
            <a:r>
              <a:rPr lang="en-GB" dirty="0" err="1"/>
              <a:t>festes</a:t>
            </a:r>
            <a:r>
              <a:rPr lang="en-GB" dirty="0"/>
              <a:t> </a:t>
            </a:r>
            <a:r>
              <a:rPr lang="en-GB" dirty="0" err="1"/>
              <a:t>Hintergrundbild</a:t>
            </a:r>
            <a:r>
              <a:rPr lang="en-GB" dirty="0"/>
              <a:t> </a:t>
            </a:r>
            <a:r>
              <a:rPr lang="en-GB" dirty="0" err="1"/>
              <a:t>gewünscht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D237288-69B6-4DA0-BD7E-BD7A01D35A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8" y="3848400"/>
            <a:ext cx="5782197" cy="385200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536797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mit Störer - 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C1F08ED-317F-4C8E-8AC5-3645E77303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51927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08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EA445690-D26D-440C-9D0E-F82F09C82CE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194804-CEF4-4035-B33E-4EF8E4210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3C54532-92BF-41E0-A70B-068FF8F3CE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4E96D4-1518-41AA-84C0-9F0CCB9BAA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5149056" cy="3095625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E7AC7325-61E4-4525-94CC-1AA9B696624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59640" y="3033713"/>
            <a:ext cx="3779640" cy="917513"/>
          </a:xfrm>
          <a:solidFill>
            <a:schemeClr val="accent6"/>
          </a:solidFill>
        </p:spPr>
        <p:txBody>
          <a:bodyPr lIns="180000" tIns="180000" rIns="180000" bIns="180000">
            <a:spAutoFit/>
          </a:bodyPr>
          <a:lstStyle>
            <a:lvl1pPr marL="263525" indent="-263525">
              <a:buFont typeface="Symbol" panose="05050102010706020507" pitchFamily="18" charset="2"/>
              <a:buChar char="·"/>
              <a:tabLst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b="1">
                <a:solidFill>
                  <a:schemeClr val="tx1"/>
                </a:solidFill>
              </a:defRPr>
            </a:lvl1pPr>
            <a:lvl2pPr marL="0" indent="0">
              <a:buFont typeface="Symbol" panose="05050102010706020507" pitchFamily="18" charset="2"/>
              <a:buNone/>
              <a:defRPr b="1"/>
            </a:lvl2pPr>
            <a:lvl3pPr marL="357188" indent="-179388">
              <a:buFont typeface="Symbol" panose="05050102010706020507" pitchFamily="18" charset="2"/>
              <a:buChar char="·"/>
              <a:defRPr b="1"/>
            </a:lvl3pPr>
            <a:lvl4pPr marL="536575" indent="-179388">
              <a:buFont typeface="Symbol" panose="05050102010706020507" pitchFamily="18" charset="2"/>
              <a:buChar char="·"/>
              <a:defRPr b="1"/>
            </a:lvl4pPr>
            <a:lvl5pPr marL="714375" indent="-179388">
              <a:buFont typeface="Symbol" panose="05050102010706020507" pitchFamily="18" charset="2"/>
              <a:buChar char="·"/>
              <a:defRPr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2336676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e mit Störer -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A78F2F31-45DA-4D1C-8AE7-0F558171EB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626380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98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4482E814-A6FD-49BA-91D3-B4D306E6C57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Freihandform: Form 4">
            <a:extLst>
              <a:ext uri="{FF2B5EF4-FFF2-40B4-BE49-F238E27FC236}">
                <a16:creationId xmlns:a16="http://schemas.microsoft.com/office/drawing/2014/main" id="{2259AF66-F934-4705-8A7D-E43035AD9C52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rgbClr val="E8E1DC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6AED4B59-3EC5-4E5F-A4DB-BFA6968AC7A1}"/>
              </a:ext>
            </a:extLst>
          </p:cNvPr>
          <p:cNvGrpSpPr/>
          <p:nvPr userDrawn="1"/>
        </p:nvGrpSpPr>
        <p:grpSpPr>
          <a:xfrm>
            <a:off x="-105798" y="1166741"/>
            <a:ext cx="12465438" cy="5877208"/>
            <a:chOff x="-105798" y="1166741"/>
            <a:chExt cx="12465438" cy="5877208"/>
          </a:xfrm>
          <a:solidFill>
            <a:schemeClr val="bg1"/>
          </a:solidFill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FED14F64-9F1E-40B2-978E-B8A78804FD60}"/>
                </a:ext>
              </a:extLst>
            </p:cNvPr>
            <p:cNvSpPr/>
            <p:nvPr/>
          </p:nvSpPr>
          <p:spPr>
            <a:xfrm>
              <a:off x="11096724" y="5191609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8CD5D8A4-502D-4DB9-8FB4-2C7B25F1C9B5}"/>
                </a:ext>
              </a:extLst>
            </p:cNvPr>
            <p:cNvSpPr/>
            <p:nvPr/>
          </p:nvSpPr>
          <p:spPr>
            <a:xfrm>
              <a:off x="4985600" y="6029792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B6CB8F2C-4588-48BF-B7A8-4DAF56FBA0CC}"/>
                </a:ext>
              </a:extLst>
            </p:cNvPr>
            <p:cNvCxnSpPr>
              <a:stCxn id="20" idx="2"/>
            </p:cNvCxnSpPr>
            <p:nvPr/>
          </p:nvCxnSpPr>
          <p:spPr>
            <a:xfrm flipH="1">
              <a:off x="-105798" y="6087052"/>
              <a:ext cx="5091398" cy="67768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B4AB27FD-858F-42A2-B632-F23226412071}"/>
                </a:ext>
              </a:extLst>
            </p:cNvPr>
            <p:cNvCxnSpPr>
              <a:cxnSpLocks/>
              <a:endCxn id="20" idx="2"/>
            </p:cNvCxnSpPr>
            <p:nvPr/>
          </p:nvCxnSpPr>
          <p:spPr>
            <a:xfrm flipH="1">
              <a:off x="4985600" y="5258319"/>
              <a:ext cx="6184336" cy="82873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667EB2BE-5AD5-4DA8-B914-2997651CA88C}"/>
                </a:ext>
              </a:extLst>
            </p:cNvPr>
            <p:cNvCxnSpPr>
              <a:cxnSpLocks/>
            </p:cNvCxnSpPr>
            <p:nvPr/>
          </p:nvCxnSpPr>
          <p:spPr>
            <a:xfrm>
              <a:off x="11153984" y="524886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DCA2E591-9A1D-4746-8562-7936560B2E5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169936" y="1166741"/>
              <a:ext cx="1029933" cy="4063862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720F3718-7CC4-47F1-B043-91C3F16D1F5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78155" y="6075583"/>
              <a:ext cx="1076732" cy="968366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31848609-C511-4866-BE4F-81851EE90F5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829546" y="5257112"/>
              <a:ext cx="4324438" cy="176826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F5194804-CEF4-4035-B33E-4EF8E4210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3C54532-92BF-41E0-A70B-068FF8F3CE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4E96D4-1518-41AA-84C0-9F0CCB9BAA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5149056" cy="3095625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E7AC7325-61E4-4525-94CC-1AA9B696624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199279" y="3037872"/>
            <a:ext cx="3240000" cy="723900"/>
          </a:xfrm>
          <a:solidFill>
            <a:schemeClr val="accent6"/>
          </a:solidFill>
        </p:spPr>
        <p:txBody>
          <a:bodyPr lIns="180000" tIns="180000" rIns="180000" bIns="180000" anchor="ctr"/>
          <a:lstStyle>
            <a:lvl1pPr marL="0" indent="0" algn="ctr">
              <a:buFont typeface="Symbol" panose="05050102010706020507" pitchFamily="18" charset="2"/>
              <a:buNone/>
              <a:tabLst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b="0" cap="all" baseline="0">
                <a:solidFill>
                  <a:schemeClr val="tx1"/>
                </a:solidFill>
              </a:defRPr>
            </a:lvl1pPr>
            <a:lvl2pPr marL="0" indent="0">
              <a:buFont typeface="Symbol" panose="05050102010706020507" pitchFamily="18" charset="2"/>
              <a:buNone/>
              <a:defRPr b="1"/>
            </a:lvl2pPr>
            <a:lvl3pPr marL="357188" indent="-179388">
              <a:buFont typeface="Symbol" panose="05050102010706020507" pitchFamily="18" charset="2"/>
              <a:buChar char="·"/>
              <a:defRPr b="1"/>
            </a:lvl3pPr>
            <a:lvl4pPr marL="536575" indent="-179388">
              <a:buFont typeface="Symbol" panose="05050102010706020507" pitchFamily="18" charset="2"/>
              <a:buChar char="·"/>
              <a:defRPr b="1"/>
            </a:lvl4pPr>
            <a:lvl5pPr marL="714375" indent="-179388">
              <a:buFont typeface="Symbol" panose="05050102010706020507" pitchFamily="18" charset="2"/>
              <a:buChar char="·"/>
              <a:defRPr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7" name="Picture 26" descr="A picture containing building&#10;&#10;Description automatically generated">
            <a:extLst>
              <a:ext uri="{FF2B5EF4-FFF2-40B4-BE49-F238E27FC236}">
                <a16:creationId xmlns:a16="http://schemas.microsoft.com/office/drawing/2014/main" id="{E65CBDFF-84C3-4684-A50D-76C6683593B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50810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rbvariante - m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514BCCB-E2E0-4EE9-A123-ABB6E55B6A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233082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0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297B4AD9-4DE7-46FC-A5D7-6F124040335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194804-CEF4-4035-B33E-4EF8E4210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3C54532-92BF-41E0-A70B-068FF8F3CE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4E96D4-1518-41AA-84C0-9F0CCB9BAA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10261600" cy="30956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3067245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arbvariante -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3190AF5-C961-40FF-8EB4-96F563C5BED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83611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20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9B6C2CC-4A7A-4C4A-8528-B06D11CB5EA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Freihandform: Form 4">
            <a:extLst>
              <a:ext uri="{FF2B5EF4-FFF2-40B4-BE49-F238E27FC236}">
                <a16:creationId xmlns:a16="http://schemas.microsoft.com/office/drawing/2014/main" id="{1FFA70C8-BDD8-4F96-BB91-D62CB6489419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rgbClr val="F7F5F1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6B25356C-D8D2-4B4C-8C10-C5DAE4277BB8}"/>
              </a:ext>
            </a:extLst>
          </p:cNvPr>
          <p:cNvGrpSpPr/>
          <p:nvPr userDrawn="1"/>
        </p:nvGrpSpPr>
        <p:grpSpPr>
          <a:xfrm>
            <a:off x="-310915" y="692467"/>
            <a:ext cx="4701499" cy="7389994"/>
            <a:chOff x="-310915" y="692467"/>
            <a:chExt cx="4701499" cy="7389994"/>
          </a:xfrm>
          <a:solidFill>
            <a:schemeClr val="bg1"/>
          </a:solidFill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AD8B6C6F-FD14-4AF5-8AF1-B567B864897B}"/>
                </a:ext>
              </a:extLst>
            </p:cNvPr>
            <p:cNvSpPr/>
            <p:nvPr/>
          </p:nvSpPr>
          <p:spPr>
            <a:xfrm rot="16200000" flipV="1">
              <a:off x="251197" y="1840864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83CFBA0F-8272-4470-9F99-8A1B309C6BF7}"/>
                </a:ext>
              </a:extLst>
            </p:cNvPr>
            <p:cNvSpPr/>
            <p:nvPr/>
          </p:nvSpPr>
          <p:spPr>
            <a:xfrm rot="16200000" flipV="1">
              <a:off x="569712" y="4051850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5F0D158A-F271-48D6-9CA0-F2C098B8ED72}"/>
                </a:ext>
              </a:extLst>
            </p:cNvPr>
            <p:cNvCxnSpPr>
              <a:cxnSpLocks/>
            </p:cNvCxnSpPr>
            <p:nvPr/>
          </p:nvCxnSpPr>
          <p:spPr>
            <a:xfrm>
              <a:off x="300213" y="1898123"/>
              <a:ext cx="904695" cy="618433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E1CC215C-B987-401B-8744-8380D56694E7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-590778" y="99888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5E68BD5F-CEB8-4E9A-BC4C-57C77B94D76F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1843686" y="-664727"/>
              <a:ext cx="1029933" cy="4063862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FEDC2362-E7FA-4821-BFD9-65D60ED6D9D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310915" y="4060342"/>
              <a:ext cx="968366" cy="119293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3A8D35AD-0DD7-4201-9712-1F19EDE778C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98823" y="1898123"/>
              <a:ext cx="424715" cy="207037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F5194804-CEF4-4035-B33E-4EF8E4210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3C54532-92BF-41E0-A70B-068FF8F3CE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4E96D4-1518-41AA-84C0-9F0CCB9BAA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10261600" cy="30956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pic>
        <p:nvPicPr>
          <p:cNvPr id="16" name="Picture 15" descr="A picture containing building&#10;&#10;Description automatically generated">
            <a:extLst>
              <a:ext uri="{FF2B5EF4-FFF2-40B4-BE49-F238E27FC236}">
                <a16:creationId xmlns:a16="http://schemas.microsoft.com/office/drawing/2014/main" id="{27F739B9-9923-4D66-8BF6-65169106C0B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16075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FE87AE4-D3DA-4B94-B821-B1DA0E7514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59158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58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70E5995-725E-46B2-BEFB-11F2FE918D2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194804-CEF4-4035-B33E-4EF8E4210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3C54532-92BF-41E0-A70B-068FF8F3CE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4E96D4-1518-41AA-84C0-9F0CCB9BAA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10261600" cy="3095625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accent2"/>
                </a:solidFill>
              </a:defRPr>
            </a:lvl1pPr>
            <a:lvl2pPr marL="0" indent="0">
              <a:spcAft>
                <a:spcPts val="0"/>
              </a:spcAft>
              <a:buNone/>
              <a:defRPr b="1">
                <a:solidFill>
                  <a:srgbClr val="85850C"/>
                </a:solidFill>
              </a:defRPr>
            </a:lvl2pPr>
            <a:lvl3pPr marL="0" indent="0">
              <a:spcAft>
                <a:spcPts val="0"/>
              </a:spcAft>
              <a:buNone/>
              <a:defRPr b="1">
                <a:solidFill>
                  <a:srgbClr val="010180"/>
                </a:solidFill>
              </a:defRPr>
            </a:lvl3pPr>
            <a:lvl4pPr marL="0" indent="0">
              <a:spcAft>
                <a:spcPts val="0"/>
              </a:spcAft>
              <a:buNone/>
              <a:defRPr b="1">
                <a:solidFill>
                  <a:srgbClr val="1D8748"/>
                </a:solidFill>
              </a:defRPr>
            </a:lvl4pPr>
            <a:lvl5pPr marL="0" indent="0">
              <a:spcAft>
                <a:spcPts val="0"/>
              </a:spcAft>
              <a:buNone/>
              <a:defRPr b="1">
                <a:solidFill>
                  <a:srgbClr val="660E7A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911805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oleObject" Target="../embeddings/oleObject14.bin"/><Relationship Id="rId2" Type="http://schemas.openxmlformats.org/officeDocument/2006/relationships/slideLayout" Target="../slideLayouts/slideLayout25.xml"/><Relationship Id="rId16" Type="http://schemas.openxmlformats.org/officeDocument/2006/relationships/tags" Target="../tags/tag27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5" Type="http://schemas.openxmlformats.org/officeDocument/2006/relationships/vmlDrawing" Target="../drawings/vmlDrawing14.vml"/><Relationship Id="rId10" Type="http://schemas.openxmlformats.org/officeDocument/2006/relationships/slideLayout" Target="../slideLayouts/slideLayout33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713C047-2ADE-439A-83F7-6E448A4304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5856628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1" name="think-cell Folie" r:id="rId16" imgW="384" imgH="385" progId="TCLayout.ActiveDocument.1">
                  <p:embed/>
                </p:oleObj>
              </mc:Choice>
              <mc:Fallback>
                <p:oleObj name="think-cell Folie" r:id="rId16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ihandform: Form 4">
            <a:extLst>
              <a:ext uri="{FF2B5EF4-FFF2-40B4-BE49-F238E27FC236}">
                <a16:creationId xmlns:a16="http://schemas.microsoft.com/office/drawing/2014/main" id="{4A3589D5-607C-4D6E-8248-115FA608F14C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rgbClr val="D3C9CB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76B986D7-3B08-4425-AB92-40445ED3FF1A}"/>
              </a:ext>
            </a:extLst>
          </p:cNvPr>
          <p:cNvGrpSpPr/>
          <p:nvPr userDrawn="1"/>
        </p:nvGrpSpPr>
        <p:grpSpPr>
          <a:xfrm>
            <a:off x="2278857" y="654309"/>
            <a:ext cx="10332346" cy="5475411"/>
            <a:chOff x="2278857" y="654309"/>
            <a:chExt cx="10332346" cy="5475411"/>
          </a:xfrm>
          <a:solidFill>
            <a:schemeClr val="bg1"/>
          </a:solidFill>
        </p:grpSpPr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F70329B1-9ABB-4491-A67B-61E401889D2A}"/>
                </a:ext>
              </a:extLst>
            </p:cNvPr>
            <p:cNvSpPr/>
            <p:nvPr/>
          </p:nvSpPr>
          <p:spPr>
            <a:xfrm rot="10800000" flipH="1">
              <a:off x="10370362" y="2840217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CDFE0E4A-96B5-412C-ACCF-E2A26233BC1C}"/>
                </a:ext>
              </a:extLst>
            </p:cNvPr>
            <p:cNvSpPr/>
            <p:nvPr/>
          </p:nvSpPr>
          <p:spPr>
            <a:xfrm rot="10800000" flipH="1">
              <a:off x="7066731" y="2037462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F3807D29-5605-4A8A-A03F-19CE51E885B1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278857" y="919541"/>
              <a:ext cx="10332346" cy="250872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F961FE35-FD8C-44EB-9E8B-4B43BBCEE57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097836" y="654309"/>
              <a:ext cx="1857530" cy="1432701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3F9E606D-54C3-4A25-9380-E17BBDA47370}"/>
                </a:ext>
              </a:extLst>
            </p:cNvPr>
            <p:cNvCxnSpPr>
              <a:cxnSpLocks/>
            </p:cNvCxnSpPr>
            <p:nvPr/>
          </p:nvCxnSpPr>
          <p:spPr>
            <a:xfrm>
              <a:off x="10443574" y="2915742"/>
              <a:ext cx="1856895" cy="321397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E265DD6B-71A9-44A2-B33F-074E2EFD68BD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0421074" y="919541"/>
              <a:ext cx="824776" cy="1975455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91636007-9D40-4683-954B-F9280643904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947738" y="1946734"/>
            <a:ext cx="10261600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/>
          <a:p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B4AB751-5A0A-46E8-B811-8002F3A3394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947738" y="3045240"/>
            <a:ext cx="10261600" cy="3084480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EC516D3-833B-4B45-ADCD-38B4401B723C}"/>
              </a:ext>
            </a:extLst>
          </p:cNvPr>
          <p:cNvSpPr txBox="1">
            <a:spLocks noGrp="1"/>
          </p:cNvSpPr>
          <p:nvPr>
            <p:ph type="ftr" sz="quarter" idx="3"/>
          </p:nvPr>
        </p:nvSpPr>
        <p:spPr>
          <a:xfrm>
            <a:off x="8255000" y="6516880"/>
            <a:ext cx="3597910" cy="114519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ctr" anchorCtr="0" compatLnSpc="1">
            <a:spAutoFit/>
          </a:bodyPr>
          <a:lstStyle>
            <a:lvl1pPr marL="0" marR="0" lvl="0" indent="0" algn="r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800" b="0" i="0" u="none" strike="noStrike" baseline="0">
                <a:solidFill>
                  <a:schemeClr val="tx1"/>
                </a:solidFill>
                <a:latin typeface="Arial" pitchFamily="18"/>
                <a:ea typeface="Arial" pitchFamily="18"/>
                <a:cs typeface="Arial" pitchFamily="18"/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pic>
        <p:nvPicPr>
          <p:cNvPr id="16" name="Picture 15" descr="A picture containing building&#10;&#10;Description automatically generated">
            <a:extLst>
              <a:ext uri="{FF2B5EF4-FFF2-40B4-BE49-F238E27FC236}">
                <a16:creationId xmlns:a16="http://schemas.microsoft.com/office/drawing/2014/main" id="{B3B9930A-FBD6-4CB1-A2B6-788A2E5D998F}"/>
              </a:ext>
            </a:extLst>
          </p:cNvPr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57" r:id="rId3"/>
    <p:sldLayoutId id="2147483659" r:id="rId4"/>
    <p:sldLayoutId id="2147483660" r:id="rId5"/>
    <p:sldLayoutId id="2147483661" r:id="rId6"/>
    <p:sldLayoutId id="2147483658" r:id="rId7"/>
    <p:sldLayoutId id="2147483663" r:id="rId8"/>
    <p:sldLayoutId id="2147483662" r:id="rId9"/>
    <p:sldLayoutId id="2147483664" r:id="rId10"/>
    <p:sldLayoutId id="2147483665" r:id="rId11"/>
    <p:sldLayoutId id="2147483666" r:id="rId12"/>
  </p:sldLayoutIdLst>
  <p:hf sldNum="0" hdr="0" dt="0"/>
  <p:txStyles>
    <p:titleStyle>
      <a:lvl1pPr marL="0" marR="0" indent="0" algn="l" rtl="0" eaLnBrk="1" hangingPunct="1">
        <a:lnSpc>
          <a:spcPct val="100000"/>
        </a:lnSpc>
        <a:spcBef>
          <a:spcPts val="0"/>
        </a:spcBef>
        <a:spcAft>
          <a:spcPts val="0"/>
        </a:spcAft>
        <a:tabLst>
          <a:tab pos="0" algn="l"/>
          <a:tab pos="448919" algn="l"/>
          <a:tab pos="898199" algn="l"/>
          <a:tab pos="1347480" algn="l"/>
          <a:tab pos="1796760" algn="l"/>
          <a:tab pos="2246040" algn="l"/>
          <a:tab pos="2695320" algn="l"/>
          <a:tab pos="3144600" algn="l"/>
          <a:tab pos="3593880" algn="l"/>
          <a:tab pos="4043159" algn="l"/>
          <a:tab pos="4492440" algn="l"/>
          <a:tab pos="4941719" algn="l"/>
          <a:tab pos="5391000" algn="l"/>
          <a:tab pos="5840280" algn="l"/>
          <a:tab pos="6289560" algn="l"/>
          <a:tab pos="6738840" algn="l"/>
          <a:tab pos="7188120" algn="l"/>
          <a:tab pos="7637400" algn="l"/>
          <a:tab pos="8086679" algn="l"/>
          <a:tab pos="8535960" algn="l"/>
          <a:tab pos="8985240" algn="l"/>
        </a:tabLst>
        <a:defRPr lang="de-DE" sz="2500" b="0" i="0" u="none" strike="noStrike" cap="all" baseline="0">
          <a:ln>
            <a:noFill/>
          </a:ln>
          <a:solidFill>
            <a:schemeClr val="accent2"/>
          </a:solidFill>
          <a:latin typeface="Arial" pitchFamily="18"/>
          <a:cs typeface="Arial" pitchFamily="18"/>
        </a:defRPr>
      </a:lvl1pPr>
    </p:titleStyle>
    <p:bodyStyle>
      <a:lvl1pPr marL="0" marR="0" indent="0" algn="l" defTabSz="720725" rtl="0" eaLnBrk="1" hangingPunct="1">
        <a:lnSpc>
          <a:spcPct val="100000"/>
        </a:lnSpc>
        <a:spcBef>
          <a:spcPts val="0"/>
        </a:spcBef>
        <a:spcAft>
          <a:spcPts val="1287"/>
        </a:spcAft>
        <a:tabLst/>
        <a:defRPr lang="de-DE" sz="1800" b="0" i="0" u="none" strike="noStrike" baseline="0">
          <a:ln>
            <a:noFill/>
          </a:ln>
          <a:solidFill>
            <a:schemeClr val="accent2"/>
          </a:solidFill>
          <a:latin typeface="Arial" pitchFamily="18"/>
          <a:cs typeface="Arial" pitchFamily="18"/>
        </a:defRPr>
      </a:lvl1pPr>
      <a:lvl2pPr marL="179388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287"/>
        </a:spcAft>
        <a:buFont typeface="Symbol" panose="05050102010706020507" pitchFamily="18" charset="2"/>
        <a:buChar char="·"/>
        <a:defRPr sz="1800" b="0" kern="1200">
          <a:solidFill>
            <a:schemeClr val="accent2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287"/>
        </a:spcAft>
        <a:buFont typeface="Symbol" panose="05050102010706020507" pitchFamily="18" charset="2"/>
        <a:buChar char="·"/>
        <a:defRPr sz="1800" b="0" kern="1200">
          <a:solidFill>
            <a:schemeClr val="accent2"/>
          </a:solidFill>
          <a:latin typeface="+mn-lt"/>
          <a:ea typeface="+mn-ea"/>
          <a:cs typeface="+mn-cs"/>
        </a:defRPr>
      </a:lvl3pPr>
      <a:lvl4pPr marL="536575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287"/>
        </a:spcAft>
        <a:buFont typeface="Symbol" panose="05050102010706020507" pitchFamily="18" charset="2"/>
        <a:buChar char="·"/>
        <a:defRPr sz="1800" b="0" kern="1200">
          <a:solidFill>
            <a:schemeClr val="accent2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287"/>
        </a:spcAft>
        <a:buFont typeface="Symbol" panose="05050102010706020507" pitchFamily="18" charset="2"/>
        <a:buChar char="·"/>
        <a:defRPr sz="1800" b="0" kern="1200">
          <a:solidFill>
            <a:schemeClr val="accent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97" userDrawn="1">
          <p15:clr>
            <a:srgbClr val="A4A3A4"/>
          </p15:clr>
        </p15:guide>
        <p15:guide id="2" orient="horz" pos="1911" userDrawn="1">
          <p15:clr>
            <a:srgbClr val="A4A3A4"/>
          </p15:clr>
        </p15:guide>
        <p15:guide id="3" pos="7061" userDrawn="1">
          <p15:clr>
            <a:srgbClr val="A4A3A4"/>
          </p15:clr>
        </p15:guide>
        <p15:guide id="4" orient="horz" pos="3861" userDrawn="1">
          <p15:clr>
            <a:srgbClr val="A4A3A4"/>
          </p15:clr>
        </p15:guide>
        <p15:guide id="6" orient="horz" pos="1224" userDrawn="1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81461EB-BDFB-4181-939B-18556E35DF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309" y="365126"/>
            <a:ext cx="1051697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D4A6411-7303-41EA-B44E-BEDA35506EA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309" y="1825625"/>
            <a:ext cx="1051697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7B06DB6-AEDB-45D3-A329-5A6551720C5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309" y="6356351"/>
            <a:ext cx="274355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A87A34-81AB-432B-8DAE-1953F412C126}" type="datetimeFigureOut">
              <a:rPr lang="en-US" smtClean="0"/>
              <a:pPr/>
              <a:t>12/1/2021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CDC555E-085B-4234-ACD8-6792285E2EA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9126" y="6356351"/>
            <a:ext cx="411533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DF9B899-201E-482B-85C0-6D13127FF6A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1722" y="6356351"/>
            <a:ext cx="274355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D22F896-40B5-4ADD-8801-0D06FADFA09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55487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  <p:sldLayoutId id="2147483672" r:id="rId5"/>
    <p:sldLayoutId id="2147483673" r:id="rId6"/>
    <p:sldLayoutId id="2147483674" r:id="rId7"/>
    <p:sldLayoutId id="2147483675" r:id="rId8"/>
    <p:sldLayoutId id="2147483676" r:id="rId9"/>
    <p:sldLayoutId id="2147483677" r:id="rId10"/>
    <p:sldLayoutId id="2147483678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713C047-2ADE-439A-83F7-6E448A4304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335905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30" name="think-cell Slide" r:id="rId17" imgW="384" imgH="385" progId="TCLayout.ActiveDocument.1">
                  <p:embed/>
                </p:oleObj>
              </mc:Choice>
              <mc:Fallback>
                <p:oleObj name="think-cell Slide" r:id="rId17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713C047-2ADE-439A-83F7-6E448A4304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ihandform: Form 4">
            <a:extLst>
              <a:ext uri="{FF2B5EF4-FFF2-40B4-BE49-F238E27FC236}">
                <a16:creationId xmlns:a16="http://schemas.microsoft.com/office/drawing/2014/main" id="{4A3589D5-607C-4D6E-8248-115FA608F14C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rgbClr val="D3C9CB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76B986D7-3B08-4425-AB92-40445ED3FF1A}"/>
              </a:ext>
            </a:extLst>
          </p:cNvPr>
          <p:cNvGrpSpPr/>
          <p:nvPr userDrawn="1"/>
        </p:nvGrpSpPr>
        <p:grpSpPr>
          <a:xfrm>
            <a:off x="2278857" y="654309"/>
            <a:ext cx="10332346" cy="5475411"/>
            <a:chOff x="2278857" y="654309"/>
            <a:chExt cx="10332346" cy="5475411"/>
          </a:xfrm>
          <a:solidFill>
            <a:schemeClr val="bg1"/>
          </a:solidFill>
        </p:grpSpPr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F70329B1-9ABB-4491-A67B-61E401889D2A}"/>
                </a:ext>
              </a:extLst>
            </p:cNvPr>
            <p:cNvSpPr/>
            <p:nvPr/>
          </p:nvSpPr>
          <p:spPr>
            <a:xfrm rot="10800000" flipH="1">
              <a:off x="10370362" y="2840217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CDFE0E4A-96B5-412C-ACCF-E2A26233BC1C}"/>
                </a:ext>
              </a:extLst>
            </p:cNvPr>
            <p:cNvSpPr/>
            <p:nvPr/>
          </p:nvSpPr>
          <p:spPr>
            <a:xfrm rot="10800000" flipH="1">
              <a:off x="7066731" y="2037462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F3807D29-5605-4A8A-A03F-19CE51E885B1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278857" y="919541"/>
              <a:ext cx="10332346" cy="250872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F961FE35-FD8C-44EB-9E8B-4B43BBCEE57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097836" y="654309"/>
              <a:ext cx="1857530" cy="1432701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3F9E606D-54C3-4A25-9380-E17BBDA47370}"/>
                </a:ext>
              </a:extLst>
            </p:cNvPr>
            <p:cNvCxnSpPr>
              <a:cxnSpLocks/>
            </p:cNvCxnSpPr>
            <p:nvPr/>
          </p:nvCxnSpPr>
          <p:spPr>
            <a:xfrm>
              <a:off x="10443574" y="2915742"/>
              <a:ext cx="1856895" cy="321397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E265DD6B-71A9-44A2-B33F-074E2EFD68BD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0421074" y="919541"/>
              <a:ext cx="824776" cy="1975455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91636007-9D40-4683-954B-F9280643904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947738" y="1946734"/>
            <a:ext cx="10261600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/>
          <a:p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B4AB751-5A0A-46E8-B811-8002F3A3394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947738" y="3045240"/>
            <a:ext cx="10261600" cy="3084480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EC516D3-833B-4B45-ADCD-38B4401B723C}"/>
              </a:ext>
            </a:extLst>
          </p:cNvPr>
          <p:cNvSpPr txBox="1">
            <a:spLocks noGrp="1"/>
          </p:cNvSpPr>
          <p:nvPr>
            <p:ph type="ftr" sz="quarter" idx="3"/>
          </p:nvPr>
        </p:nvSpPr>
        <p:spPr>
          <a:xfrm>
            <a:off x="8255000" y="6516880"/>
            <a:ext cx="3597910" cy="114519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ctr" anchorCtr="0" compatLnSpc="1">
            <a:spAutoFit/>
          </a:bodyPr>
          <a:lstStyle>
            <a:lvl1pPr marL="0" marR="0" lvl="0" indent="0" algn="r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800" b="0" i="0" u="none" strike="noStrike" baseline="0">
                <a:solidFill>
                  <a:schemeClr val="tx1"/>
                </a:solidFill>
                <a:latin typeface="Arial" pitchFamily="18"/>
                <a:ea typeface="Arial" pitchFamily="18"/>
                <a:cs typeface="Arial" pitchFamily="18"/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pic>
        <p:nvPicPr>
          <p:cNvPr id="16" name="Picture 15" descr="A picture containing building&#10;&#10;Description automatically generated">
            <a:extLst>
              <a:ext uri="{FF2B5EF4-FFF2-40B4-BE49-F238E27FC236}">
                <a16:creationId xmlns:a16="http://schemas.microsoft.com/office/drawing/2014/main" id="{B3B9930A-FBD6-4CB1-A2B6-788A2E5D998F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31226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4" r:id="rId5"/>
    <p:sldLayoutId id="2147483685" r:id="rId6"/>
    <p:sldLayoutId id="2147483686" r:id="rId7"/>
    <p:sldLayoutId id="2147483687" r:id="rId8"/>
    <p:sldLayoutId id="2147483688" r:id="rId9"/>
    <p:sldLayoutId id="2147483689" r:id="rId10"/>
    <p:sldLayoutId id="2147483690" r:id="rId11"/>
    <p:sldLayoutId id="2147483691" r:id="rId12"/>
    <p:sldLayoutId id="2147483692" r:id="rId13"/>
  </p:sldLayoutIdLst>
  <p:hf sldNum="0" hdr="0" dt="0"/>
  <p:txStyles>
    <p:titleStyle>
      <a:lvl1pPr marL="0" marR="0" indent="0" algn="l" rtl="0" hangingPunct="0">
        <a:lnSpc>
          <a:spcPct val="100000"/>
        </a:lnSpc>
        <a:spcBef>
          <a:spcPts val="0"/>
        </a:spcBef>
        <a:spcAft>
          <a:spcPts val="0"/>
        </a:spcAft>
        <a:tabLst>
          <a:tab pos="0" algn="l"/>
          <a:tab pos="448919" algn="l"/>
          <a:tab pos="898199" algn="l"/>
          <a:tab pos="1347480" algn="l"/>
          <a:tab pos="1796760" algn="l"/>
          <a:tab pos="2246040" algn="l"/>
          <a:tab pos="2695320" algn="l"/>
          <a:tab pos="3144600" algn="l"/>
          <a:tab pos="3593880" algn="l"/>
          <a:tab pos="4043159" algn="l"/>
          <a:tab pos="4492440" algn="l"/>
          <a:tab pos="4941719" algn="l"/>
          <a:tab pos="5391000" algn="l"/>
          <a:tab pos="5840280" algn="l"/>
          <a:tab pos="6289560" algn="l"/>
          <a:tab pos="6738840" algn="l"/>
          <a:tab pos="7188120" algn="l"/>
          <a:tab pos="7637400" algn="l"/>
          <a:tab pos="8086679" algn="l"/>
          <a:tab pos="8535960" algn="l"/>
          <a:tab pos="8985240" algn="l"/>
        </a:tabLst>
        <a:defRPr lang="de-DE" sz="2500" b="0" i="0" u="none" strike="noStrike" cap="all" baseline="0">
          <a:ln>
            <a:noFill/>
          </a:ln>
          <a:solidFill>
            <a:schemeClr val="accent2"/>
          </a:solidFill>
          <a:latin typeface="Arial" pitchFamily="18"/>
          <a:cs typeface="Arial" pitchFamily="18"/>
        </a:defRPr>
      </a:lvl1pPr>
    </p:titleStyle>
    <p:bodyStyle>
      <a:lvl1pPr marL="0" marR="0" indent="0" algn="l" defTabSz="720725" rtl="0" hangingPunct="0">
        <a:lnSpc>
          <a:spcPct val="100000"/>
        </a:lnSpc>
        <a:spcBef>
          <a:spcPts val="0"/>
        </a:spcBef>
        <a:spcAft>
          <a:spcPts val="1287"/>
        </a:spcAft>
        <a:tabLst/>
        <a:defRPr lang="de-DE" sz="1800" b="0" i="0" u="none" strike="noStrike" baseline="0">
          <a:ln>
            <a:noFill/>
          </a:ln>
          <a:solidFill>
            <a:schemeClr val="accent2"/>
          </a:solidFill>
          <a:latin typeface="Arial" pitchFamily="18"/>
          <a:cs typeface="Arial" pitchFamily="18"/>
        </a:defRPr>
      </a:lvl1pPr>
      <a:lvl2pPr marL="179388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287"/>
        </a:spcAft>
        <a:buFont typeface="Symbol" panose="05050102010706020507" pitchFamily="18" charset="2"/>
        <a:buChar char="·"/>
        <a:defRPr sz="1800" b="0" kern="1200">
          <a:solidFill>
            <a:schemeClr val="accent2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287"/>
        </a:spcAft>
        <a:buFont typeface="Symbol" panose="05050102010706020507" pitchFamily="18" charset="2"/>
        <a:buChar char="·"/>
        <a:defRPr sz="1800" b="0" kern="1200">
          <a:solidFill>
            <a:schemeClr val="accent2"/>
          </a:solidFill>
          <a:latin typeface="+mn-lt"/>
          <a:ea typeface="+mn-ea"/>
          <a:cs typeface="+mn-cs"/>
        </a:defRPr>
      </a:lvl3pPr>
      <a:lvl4pPr marL="536575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287"/>
        </a:spcAft>
        <a:buFont typeface="Symbol" panose="05050102010706020507" pitchFamily="18" charset="2"/>
        <a:buChar char="·"/>
        <a:defRPr sz="1800" b="0" kern="1200">
          <a:solidFill>
            <a:schemeClr val="accent2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287"/>
        </a:spcAft>
        <a:buFont typeface="Symbol" panose="05050102010706020507" pitchFamily="18" charset="2"/>
        <a:buChar char="·"/>
        <a:defRPr sz="1800" b="0" kern="1200">
          <a:solidFill>
            <a:schemeClr val="accent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97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pos="7061">
          <p15:clr>
            <a:srgbClr val="A4A3A4"/>
          </p15:clr>
        </p15:guide>
        <p15:guide id="4" orient="horz" pos="3861">
          <p15:clr>
            <a:srgbClr val="A4A3A4"/>
          </p15:clr>
        </p15:guide>
        <p15:guide id="6" orient="horz" pos="1224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7" Type="http://schemas.openxmlformats.org/officeDocument/2006/relationships/image" Target="../media/image9.jpeg"/><Relationship Id="rId2" Type="http://schemas.openxmlformats.org/officeDocument/2006/relationships/tags" Target="../tags/tag54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4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4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4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4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9.bin"/><Relationship Id="rId4" Type="http://schemas.openxmlformats.org/officeDocument/2006/relationships/slideLayout" Target="../slideLayouts/slideLayout3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17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85F243D0-5CD3-473A-B9EA-448F4C5C1A00}"/>
              </a:ext>
            </a:extLst>
          </p:cNvPr>
          <p:cNvSpPr/>
          <p:nvPr/>
        </p:nvSpPr>
        <p:spPr>
          <a:xfrm>
            <a:off x="947739" y="1943100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143BFB58-270A-423B-BCF0-A0B2C45AE93D}"/>
              </a:ext>
            </a:extLst>
          </p:cNvPr>
          <p:cNvSpPr/>
          <p:nvPr/>
        </p:nvSpPr>
        <p:spPr>
          <a:xfrm rot="10800000">
            <a:off x="5340236" y="2757953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3" name="Picture 12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CC3A86C3-B41B-4C49-8704-4D76A3C93804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942" t="713" r="220"/>
          <a:stretch/>
        </p:blipFill>
        <p:spPr>
          <a:xfrm flipH="1">
            <a:off x="1699577" y="2675396"/>
            <a:ext cx="5112543" cy="2750044"/>
          </a:xfrm>
          <a:prstGeom prst="rect">
            <a:avLst/>
          </a:prstGeom>
        </p:spPr>
      </p:pic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E3689925-3C9A-4235-872D-4969DA02E52F}"/>
              </a:ext>
            </a:extLst>
          </p:cNvPr>
          <p:cNvGrpSpPr/>
          <p:nvPr/>
        </p:nvGrpSpPr>
        <p:grpSpPr>
          <a:xfrm>
            <a:off x="7563960" y="3392259"/>
            <a:ext cx="3640659" cy="3072359"/>
            <a:chOff x="1493520" y="3209379"/>
            <a:chExt cx="4755674" cy="3072359"/>
          </a:xfrm>
        </p:grpSpPr>
        <p:sp>
          <p:nvSpPr>
            <p:cNvPr id="21" name="Title 1">
              <a:extLst>
                <a:ext uri="{FF2B5EF4-FFF2-40B4-BE49-F238E27FC236}">
                  <a16:creationId xmlns:a16="http://schemas.microsoft.com/office/drawing/2014/main" id="{125CE7AE-4B4B-45EA-AE8F-EC3A2A05919F}"/>
                </a:ext>
              </a:extLst>
            </p:cNvPr>
            <p:cNvSpPr txBox="1">
              <a:spLocks/>
            </p:cNvSpPr>
            <p:nvPr/>
          </p:nvSpPr>
          <p:spPr>
            <a:xfrm>
              <a:off x="1493520" y="3209379"/>
              <a:ext cx="4755674" cy="769441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0" tIns="0" rIns="0" bIns="0" anchor="t" anchorCtr="0" compatLnSpc="1">
              <a:spAutoFit/>
            </a:bodyPr>
            <a:lstStyle>
              <a:lvl1pPr marL="0" marR="0" indent="0" algn="l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tabLst>
                  <a:tab pos="0" algn="l"/>
                  <a:tab pos="448919" algn="l"/>
                  <a:tab pos="898199" algn="l"/>
                  <a:tab pos="1347480" algn="l"/>
                  <a:tab pos="1796760" algn="l"/>
                  <a:tab pos="2246040" algn="l"/>
                  <a:tab pos="2695320" algn="l"/>
                  <a:tab pos="3144600" algn="l"/>
                  <a:tab pos="3593880" algn="l"/>
                  <a:tab pos="4043159" algn="l"/>
                  <a:tab pos="4492440" algn="l"/>
                  <a:tab pos="4941719" algn="l"/>
                  <a:tab pos="5391000" algn="l"/>
                  <a:tab pos="5840280" algn="l"/>
                  <a:tab pos="6289560" algn="l"/>
                  <a:tab pos="6738840" algn="l"/>
                  <a:tab pos="7188120" algn="l"/>
                  <a:tab pos="7637400" algn="l"/>
                  <a:tab pos="8086679" algn="l"/>
                  <a:tab pos="8535960" algn="l"/>
                  <a:tab pos="8985240" algn="l"/>
                </a:tabLst>
                <a:defRPr lang="de-DE" sz="2500" b="0" i="0" u="none" strike="noStrike" cap="all" baseline="0">
                  <a:ln>
                    <a:noFill/>
                  </a:ln>
                  <a:solidFill>
                    <a:schemeClr val="tx1"/>
                  </a:solidFill>
                  <a:latin typeface="Arial" pitchFamily="18"/>
                  <a:cs typeface="Arial" pitchFamily="18"/>
                </a:defRPr>
              </a:lvl1pPr>
            </a:lstStyle>
            <a:p>
              <a:pPr algn="ctr"/>
              <a:r>
                <a:rPr lang="de-DE" kern="0" dirty="0"/>
                <a:t>Test Driven Development</a:t>
              </a:r>
            </a:p>
          </p:txBody>
        </p:sp>
        <p:sp>
          <p:nvSpPr>
            <p:cNvPr id="22" name="Text Placeholder 3">
              <a:extLst>
                <a:ext uri="{FF2B5EF4-FFF2-40B4-BE49-F238E27FC236}">
                  <a16:creationId xmlns:a16="http://schemas.microsoft.com/office/drawing/2014/main" id="{A8A16760-903C-494B-8D6E-4487B4078E33}"/>
                </a:ext>
              </a:extLst>
            </p:cNvPr>
            <p:cNvSpPr txBox="1">
              <a:spLocks/>
            </p:cNvSpPr>
            <p:nvPr/>
          </p:nvSpPr>
          <p:spPr>
            <a:xfrm>
              <a:off x="1493520" y="4328160"/>
              <a:ext cx="4755674" cy="1953578"/>
            </a:xfrm>
            <a:prstGeom prst="rect">
              <a:avLst/>
            </a:prstGeom>
            <a:noFill/>
            <a:ln>
              <a:noFill/>
            </a:ln>
          </p:spPr>
          <p:txBody>
            <a:bodyPr vert="horz" lIns="0" tIns="25560" rIns="0" bIns="0" anchor="t" anchorCtr="0" compatLnSpc="1"/>
            <a:lstStyle>
              <a:lvl1pPr marL="0" marR="0" indent="0" algn="l" defTabSz="720725" rtl="0" hangingPunct="0">
                <a:lnSpc>
                  <a:spcPct val="100000"/>
                </a:lnSpc>
                <a:spcBef>
                  <a:spcPts val="0"/>
                </a:spcBef>
                <a:spcAft>
                  <a:spcPts val="1287"/>
                </a:spcAft>
                <a:tabLst/>
                <a:defRPr lang="de-DE" sz="1800" b="0" i="0" u="none" strike="noStrike" baseline="0">
                  <a:ln>
                    <a:noFill/>
                  </a:ln>
                  <a:solidFill>
                    <a:schemeClr val="tx1"/>
                  </a:solidFill>
                  <a:latin typeface="Arial" pitchFamily="18"/>
                  <a:cs typeface="Arial" pitchFamily="18"/>
                </a:defRPr>
              </a:lvl1pPr>
              <a:lvl2pPr marL="179388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87"/>
                </a:spcAft>
                <a:buFont typeface="Symbol" panose="05050102010706020507" pitchFamily="18" charset="2"/>
                <a:buChar char="·"/>
                <a:defRPr sz="18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57188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87"/>
                </a:spcAft>
                <a:buFont typeface="Symbol" panose="05050102010706020507" pitchFamily="18" charset="2"/>
                <a:buChar char="·"/>
                <a:defRPr sz="18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36575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87"/>
                </a:spcAft>
                <a:buFont typeface="Symbol" panose="05050102010706020507" pitchFamily="18" charset="2"/>
                <a:buChar char="·"/>
                <a:defRPr sz="18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14375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87"/>
                </a:spcAft>
                <a:buFont typeface="Symbol" panose="05050102010706020507" pitchFamily="18" charset="2"/>
                <a:buChar char="·"/>
                <a:defRPr sz="18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de-DE" kern="0" dirty="0"/>
                <a:t>And Mo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57122232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0CC347D-3117-4626-A3E7-63C9E91BAB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TDD Cycle</a:t>
            </a:r>
            <a:endParaRPr lang="en-DE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588A674-8DDF-4639-B6F3-2B4D5A6D812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18"/>
                <a:cs typeface="Arial" pitchFamily="18"/>
              </a:rPr>
              <a:t>© Coding Akademie München GmbH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18"/>
              <a:cs typeface="Arial" pitchFamily="18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DB3D34E-BB98-41D6-A4D6-B2F146B0956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7" y="3033713"/>
            <a:ext cx="4152037" cy="3095625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Write a (minimal) tes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Implement the minimal functionality to get the test work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mprove the code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93EBF262-651F-45C6-A17B-C02731739E9E}"/>
              </a:ext>
            </a:extLst>
          </p:cNvPr>
          <p:cNvSpPr txBox="1">
            <a:spLocks/>
          </p:cNvSpPr>
          <p:nvPr/>
        </p:nvSpPr>
        <p:spPr>
          <a:xfrm>
            <a:off x="5542504" y="3033713"/>
            <a:ext cx="5884428" cy="3095625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eaLnBrk="1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  <a:lvl2pPr marL="1793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marR="0" lvl="0" indent="-285750" algn="l" defTabSz="7207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kern="0" dirty="0">
                <a:solidFill>
                  <a:srgbClr val="000000"/>
                </a:solidFill>
              </a:rPr>
              <a:t>This code does </a:t>
            </a:r>
            <a:r>
              <a:rPr lang="en-US" b="1" kern="0" dirty="0">
                <a:solidFill>
                  <a:srgbClr val="000000"/>
                </a:solidFill>
              </a:rPr>
              <a:t>not</a:t>
            </a:r>
            <a:r>
              <a:rPr lang="en-US" kern="0" dirty="0">
                <a:solidFill>
                  <a:srgbClr val="000000"/>
                </a:solidFill>
              </a:rPr>
              <a:t> have to be clean or well-designed</a:t>
            </a:r>
          </a:p>
          <a:p>
            <a:pPr marL="285750" marR="0" lvl="0" indent="-285750" algn="l" defTabSz="7207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18"/>
                <a:ea typeface="+mn-ea"/>
                <a:cs typeface="Arial" pitchFamily="18"/>
              </a:rPr>
              <a:t>Solve simply!</a:t>
            </a:r>
          </a:p>
        </p:txBody>
      </p:sp>
    </p:spTree>
    <p:extLst>
      <p:ext uri="{BB962C8B-B14F-4D97-AF65-F5344CB8AC3E}">
        <p14:creationId xmlns:p14="http://schemas.microsoft.com/office/powerpoint/2010/main" val="227253034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0CC347D-3117-4626-A3E7-63C9E91BAB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TDD Cycle</a:t>
            </a:r>
            <a:endParaRPr lang="en-DE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588A674-8DDF-4639-B6F3-2B4D5A6D812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18"/>
                <a:cs typeface="Arial" pitchFamily="18"/>
              </a:rPr>
              <a:t>© Coding Akademie München GmbH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18"/>
              <a:cs typeface="Arial" pitchFamily="18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DB3D34E-BB98-41D6-A4D6-B2F146B0956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3802232" cy="3095625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Write a (minimal) tes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mplement the minimal functionality to get the test work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Improve the code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93EBF262-651F-45C6-A17B-C02731739E9E}"/>
              </a:ext>
            </a:extLst>
          </p:cNvPr>
          <p:cNvSpPr txBox="1">
            <a:spLocks/>
          </p:cNvSpPr>
          <p:nvPr/>
        </p:nvSpPr>
        <p:spPr>
          <a:xfrm>
            <a:off x="5542504" y="3033713"/>
            <a:ext cx="5884428" cy="3095625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eaLnBrk="1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  <a:lvl2pPr marL="1793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marR="0" lvl="0" indent="-285750" algn="l" defTabSz="7207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kern="0" dirty="0">
                <a:solidFill>
                  <a:srgbClr val="000000"/>
                </a:solidFill>
              </a:rPr>
              <a:t>Clean up </a:t>
            </a: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18"/>
                <a:ea typeface="+mn-ea"/>
                <a:cs typeface="Arial" pitchFamily="18"/>
              </a:rPr>
              <a:t>the code introduced in the previous step</a:t>
            </a:r>
          </a:p>
          <a:p>
            <a:pPr marL="285750" marR="0" lvl="0" indent="-285750" algn="l" defTabSz="7207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kern="0" dirty="0">
                <a:solidFill>
                  <a:srgbClr val="000000"/>
                </a:solidFill>
              </a:rPr>
              <a:t>Generalize the implementation if it contains too much repetition</a:t>
            </a:r>
          </a:p>
          <a:p>
            <a:pPr marL="285750" marR="0" lvl="0" indent="-285750" algn="l" defTabSz="7207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b="1" kern="0" dirty="0">
                <a:solidFill>
                  <a:srgbClr val="000000"/>
                </a:solidFill>
              </a:rPr>
              <a:t>This step is not optional!</a:t>
            </a:r>
          </a:p>
        </p:txBody>
      </p:sp>
    </p:spTree>
    <p:extLst>
      <p:ext uri="{BB962C8B-B14F-4D97-AF65-F5344CB8AC3E}">
        <p14:creationId xmlns:p14="http://schemas.microsoft.com/office/powerpoint/2010/main" val="339853271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0CC347D-3117-4626-A3E7-63C9E91BAB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TDD Cycle</a:t>
            </a:r>
            <a:endParaRPr lang="en-DE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588A674-8DDF-4639-B6F3-2B4D5A6D812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18"/>
                <a:cs typeface="Arial" pitchFamily="18"/>
              </a:rPr>
              <a:t>© Coding Akademie München GmbH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18"/>
              <a:cs typeface="Arial" pitchFamily="18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DB3D34E-BB98-41D6-A4D6-B2F146B0956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Write a (minimal) tes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mplement the minimal functionality to get the test work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Improve the cod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80B935A-EBF5-4F40-AF45-D34F20B856D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56413" y="4018732"/>
            <a:ext cx="3779640" cy="917513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Improving the code really isn’t optional! 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241925138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588A674-8DDF-4639-B6F3-2B4D5A6D812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18"/>
                <a:cs typeface="Arial" pitchFamily="18"/>
              </a:rPr>
              <a:t>© Coding Akademie München GmbH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18"/>
              <a:cs typeface="Arial" pitchFamily="18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DB3D34E-BB98-41D6-A4D6-B2F146B0956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accent6">
                    <a:lumMod val="75000"/>
                  </a:schemeClr>
                </a:solidFill>
              </a:rPr>
              <a:t>Red: Failing tes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92D050"/>
                </a:solidFill>
              </a:rPr>
              <a:t>Green: All tests are green again, code is not clea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B0F0"/>
                </a:solidFill>
              </a:rPr>
              <a:t>Clean / refactor: All test still pass, code is clean agai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0CC347D-3117-4626-A3E7-63C9E91BABEC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947738" y="1946275"/>
            <a:ext cx="9313862" cy="385763"/>
          </a:xfrm>
        </p:spPr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The TDD Cycle</a:t>
            </a:r>
            <a:endParaRPr lang="en-DE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789040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1F64D66-A81A-4CCD-846B-4572A7D409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Solve Simply?</a:t>
            </a:r>
            <a:endParaRPr lang="en-DE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237817D-2CF2-4F17-ACBC-6BAAF6CDA6A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CA29924-25BD-4CBC-82CE-8AF8AFCD58E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 flexible, generic solution often increases the complexity of the syste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is is useless if the flexibility is not need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evelopers are often bad at predicting where flexibility or extensibility is need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 simple solution for a specific use case is often simple to impl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is simple solution is often easier to understand and cleaner than generic code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41887509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DCD745E-50C8-4D7D-B7ED-95A5C7C3054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FE566FA-2D98-4400-B77C-2934660AFE6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Refactoring allows us to clean up code without changing its functional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t is possible to iteratively extend code and to add the necessary flexibility to do s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t is simpler to iteratively refactor and extend code than to come up with the final solution right awa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se assumptions are not fulfilled if we don’t have a good test harness!</a:t>
            </a:r>
            <a:endParaRPr lang="en-DE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011262-CF6E-4829-A3A2-325E1978BC03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947738" y="1946275"/>
            <a:ext cx="10261600" cy="385763"/>
          </a:xfrm>
        </p:spPr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Assumptions Made By Solve Simply</a:t>
            </a:r>
            <a:endParaRPr lang="en-DE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291968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901425FB-EA6B-4A47-A515-91D7CE60AD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by Steps</a:t>
            </a:r>
            <a:endParaRPr lang="en-DE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327CF22-013D-4C1C-9079-F462F87E94B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0DBFF90-B11E-497D-A1BC-5463D3657D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 system is almost always in a buildable, executable sta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refore we get immediate feedback from every code chan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requently merging to master and CI/CD become possible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77423247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3114852D-45E2-4C14-9B7C-6D16DB9893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ven Better: TDD Cycle + Preparation</a:t>
            </a:r>
            <a:endParaRPr lang="en-DE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3B51F6E-AC94-4630-8DE7-65483613048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C2108AD-1A9F-4B77-B5EA-9FB4D43ABF4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Refactor the code so that the feature increment will be easy to add</a:t>
            </a:r>
          </a:p>
          <a:p>
            <a:pPr marL="465138" lvl="1" indent="-285750">
              <a:buFont typeface="Arial" panose="020B0604020202020204" pitchFamily="34" charset="0"/>
              <a:buChar char="•"/>
            </a:pPr>
            <a:r>
              <a:rPr lang="en-US" dirty="0"/>
              <a:t>This is often not simple!</a:t>
            </a:r>
          </a:p>
          <a:p>
            <a:pPr marL="465138" lvl="1" indent="-285750">
              <a:buFont typeface="Arial" panose="020B0604020202020204" pitchFamily="34" charset="0"/>
              <a:buChar char="•"/>
            </a:pPr>
            <a:r>
              <a:rPr lang="en-US" dirty="0"/>
              <a:t>But you have a working test suite while doing s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mplement the feature increment in a TDD cyc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Repeat this cycle </a:t>
            </a:r>
            <a:r>
              <a:rPr lang="en-US" i="1" dirty="0"/>
              <a:t>ad infinitum</a:t>
            </a:r>
            <a:r>
              <a:rPr lang="en-US" dirty="0"/>
              <a:t> (or until the program is completed)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415475910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01D71E-3411-4CE7-A819-B2B8B6ADAA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uided Kata: Prime Factorization</a:t>
            </a:r>
            <a:endParaRPr lang="en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60349F1-1276-4215-95F5-15793F36891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F57D459-C324-482A-ABDC-39B731D13E8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DD exercise that demonstrate how to come up with a clean implementation of an algorithm by following the TDD step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ocus is proceeding according to the TDD cycle: Have tests drive the desig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Goals:</a:t>
            </a:r>
          </a:p>
          <a:p>
            <a:pPr marL="465138" lvl="1" indent="-285750">
              <a:buFont typeface="Arial" panose="020B0604020202020204" pitchFamily="34" charset="0"/>
              <a:buChar char="•"/>
            </a:pPr>
            <a:r>
              <a:rPr lang="en-US" dirty="0"/>
              <a:t>Experience the TDD cycle</a:t>
            </a:r>
          </a:p>
          <a:p>
            <a:pPr marL="465138" lvl="1" indent="-285750">
              <a:buFont typeface="Arial" panose="020B0604020202020204" pitchFamily="34" charset="0"/>
              <a:buChar char="•"/>
            </a:pPr>
            <a:r>
              <a:rPr lang="en-US" dirty="0"/>
              <a:t>Learn to work iteratively and incrementally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77176248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800827-2833-4564-9856-0D35A882D6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uided Kata: Prime Factorization</a:t>
            </a:r>
            <a:endParaRPr lang="en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841093D-9B78-467A-B2B9-4DF4726B969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28B05B2-9B85-4CEE-8A37-690C1405A0A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4"/>
            <a:ext cx="10261600" cy="3149372"/>
          </a:xfrm>
        </p:spPr>
        <p:txBody>
          <a:bodyPr/>
          <a:lstStyle/>
          <a:p>
            <a:r>
              <a:rPr lang="en-CA" dirty="0"/>
              <a:t>Write a program that prints the list of prime factors of a number </a:t>
            </a:r>
            <a:r>
              <a:rPr lang="en-CA" i="1" dirty="0"/>
              <a:t>n</a:t>
            </a:r>
            <a:r>
              <a:rPr lang="en-CA" dirty="0"/>
              <a:t> given as argumen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+mn-lt"/>
              </a:rPr>
              <a:t>The prime factors of </a:t>
            </a:r>
            <a:r>
              <a:rPr lang="en-US" i="1" dirty="0">
                <a:latin typeface="Consolas" panose="020B0609020204030204" pitchFamily="49" charset="0"/>
              </a:rPr>
              <a:t>n </a:t>
            </a:r>
            <a:r>
              <a:rPr lang="en-US" dirty="0">
                <a:latin typeface="Consolas" panose="020B0609020204030204" pitchFamily="49" charset="0"/>
              </a:rPr>
              <a:t>should be printed </a:t>
            </a:r>
            <a:r>
              <a:rPr lang="en-US" dirty="0">
                <a:latin typeface="+mn-lt"/>
              </a:rPr>
              <a:t>in ascending order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+mn-lt"/>
              </a:rPr>
              <a:t>Multiple prime divisors occur multiple times in the result.</a:t>
            </a:r>
          </a:p>
          <a:p>
            <a:r>
              <a:rPr lang="en-US" dirty="0">
                <a:latin typeface="+mn-lt"/>
              </a:rPr>
              <a:t>For example, running </a:t>
            </a:r>
          </a:p>
          <a:p>
            <a:r>
              <a:rPr lang="en-US" dirty="0">
                <a:latin typeface="+mn-lt"/>
              </a:rPr>
              <a:t>$ </a:t>
            </a:r>
            <a:r>
              <a:rPr lang="en-US" dirty="0">
                <a:latin typeface="Consolas" panose="020B0609020204030204" pitchFamily="49" charset="0"/>
              </a:rPr>
              <a:t>PrimeFactors.exe 100</a:t>
            </a:r>
          </a:p>
          <a:p>
            <a:r>
              <a:rPr lang="en-US" dirty="0">
                <a:latin typeface="+mn-lt"/>
              </a:rPr>
              <a:t>should print </a:t>
            </a:r>
          </a:p>
          <a:p>
            <a:r>
              <a:rPr lang="en-US" dirty="0">
                <a:latin typeface="Consolas" panose="020B0609020204030204" pitchFamily="49" charset="0"/>
              </a:rPr>
              <a:t>The primes of 100 are: 2, 2, 5, 5</a:t>
            </a:r>
            <a:endParaRPr lang="en-DE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11701558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2B5A55-59DE-49DB-97A0-C717BDA6CA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in Idea behind TDD</a:t>
            </a:r>
            <a:endParaRPr lang="en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F5D363F-DBC7-4CB0-9535-61AEC5F71E9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8AE1812-9D41-4366-8205-EEB35B13C09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Use tests to </a:t>
            </a:r>
            <a:r>
              <a:rPr lang="en-US" b="1" dirty="0"/>
              <a:t>drive design</a:t>
            </a:r>
            <a:r>
              <a:rPr lang="en-US" dirty="0"/>
              <a:t> and </a:t>
            </a:r>
            <a:r>
              <a:rPr lang="en-US" b="1" dirty="0"/>
              <a:t>feature development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ach test describes a feature increment of the progra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onversely, each feature increment is first described by a tes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estable and well-tested code is an inevitable byproduct of this process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283345841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800827-2833-4564-9856-0D35A882D6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uided Kata: Prime Factorization</a:t>
            </a:r>
            <a:endParaRPr lang="en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841093D-9B78-467A-B2B9-4DF4726B969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28B05B2-9B85-4CEE-8A37-690C1405A0A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CA" dirty="0"/>
              <a:t>Write a function</a:t>
            </a:r>
          </a:p>
          <a:p>
            <a:r>
              <a:rPr lang="en-CA" dirty="0">
                <a:latin typeface="Consolas" panose="020B0609020204030204" pitchFamily="49" charset="0"/>
              </a:rPr>
              <a:t>	std::vector&lt;long&gt; </a:t>
            </a:r>
            <a:r>
              <a:rPr lang="en-CA" dirty="0" err="1">
                <a:latin typeface="Consolas" panose="020B0609020204030204" pitchFamily="49" charset="0"/>
              </a:rPr>
              <a:t>compute_prime_factors</a:t>
            </a:r>
            <a:r>
              <a:rPr lang="en-CA" dirty="0">
                <a:latin typeface="Consolas" panose="020B0609020204030204" pitchFamily="49" charset="0"/>
              </a:rPr>
              <a:t>(long n)</a:t>
            </a:r>
          </a:p>
          <a:p>
            <a:r>
              <a:rPr lang="en-US" dirty="0">
                <a:latin typeface="+mn-lt"/>
              </a:rPr>
              <a:t>that returns the prime factors of </a:t>
            </a:r>
            <a:r>
              <a:rPr lang="en-US" dirty="0">
                <a:latin typeface="Consolas" panose="020B0609020204030204" pitchFamily="49" charset="0"/>
              </a:rPr>
              <a:t>n</a:t>
            </a:r>
            <a:r>
              <a:rPr lang="en-US" dirty="0">
                <a:latin typeface="+mn-lt"/>
              </a:rPr>
              <a:t> in ascending order. Multiple prime divisors occur multiple times in the result.</a:t>
            </a:r>
          </a:p>
          <a:p>
            <a:r>
              <a:rPr lang="en-US" dirty="0">
                <a:latin typeface="+mn-lt"/>
              </a:rPr>
              <a:t>For example, </a:t>
            </a:r>
            <a:r>
              <a:rPr lang="en-US" dirty="0" err="1">
                <a:latin typeface="Consolas" panose="020B0609020204030204" pitchFamily="49" charset="0"/>
              </a:rPr>
              <a:t>compute_prime_factors</a:t>
            </a:r>
            <a:r>
              <a:rPr lang="en-US" dirty="0">
                <a:latin typeface="Consolas" panose="020B0609020204030204" pitchFamily="49" charset="0"/>
              </a:rPr>
              <a:t>(12)</a:t>
            </a:r>
            <a:r>
              <a:rPr lang="en-US" dirty="0">
                <a:latin typeface="+mn-lt"/>
              </a:rPr>
              <a:t> returns the vector {2, 2, 3}.</a:t>
            </a:r>
            <a:endParaRPr lang="en-DE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35206303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7FB527-4EFE-49C2-A9B5-131D871844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ata: </a:t>
            </a:r>
            <a:r>
              <a:rPr lang="en-US" dirty="0" err="1"/>
              <a:t>FizzBuzz</a:t>
            </a:r>
            <a:endParaRPr lang="en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0586DC4-CB66-471F-9E60-A76A651BB72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73EA7E4-72D1-4588-A642-30E3E3358BB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Write a program that simulates a simple game for childre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 program outputs the numbers from 1 to 100 to the standard outpu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f a number is divisible by 3, it is replaced by the string “Fizz”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f a number is divisible by 5, it is replaced by the string “Buzz”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f a number is divisible by both 3 and 5 it is replaced by the string “FizzBuzz”</a:t>
            </a:r>
          </a:p>
          <a:p>
            <a:r>
              <a:rPr lang="en-US" dirty="0"/>
              <a:t>Work incrementally, in small steps.</a:t>
            </a:r>
          </a:p>
          <a:p>
            <a:r>
              <a:rPr lang="en-US" i="1" dirty="0"/>
              <a:t>Hint: How can you structure your code to make it easier to test?</a:t>
            </a:r>
            <a:endParaRPr lang="en-DE" i="1" dirty="0"/>
          </a:p>
        </p:txBody>
      </p:sp>
    </p:spTree>
    <p:extLst>
      <p:ext uri="{BB962C8B-B14F-4D97-AF65-F5344CB8AC3E}">
        <p14:creationId xmlns:p14="http://schemas.microsoft.com/office/powerpoint/2010/main" val="297096893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alphaModFix amt="40000"/>
            <a:lum/>
          </a:blip>
          <a:srcRect/>
          <a:stretch>
            <a:fillRect t="-6000" b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79A7CA-CF1A-4111-A4E8-6E4FA3D2CF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cap: Effective Unit Testing</a:t>
            </a:r>
            <a:endParaRPr lang="de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8F2411-35AB-43F1-840E-6384B12B7F2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994" y="1585913"/>
            <a:ext cx="10515600" cy="5191125"/>
          </a:xfrm>
        </p:spPr>
        <p:txBody>
          <a:bodyPr>
            <a:normAutofit fontScale="92500" lnSpcReduction="20000"/>
          </a:bodyPr>
          <a:lstStyle/>
          <a:p>
            <a:r>
              <a:rPr lang="en-US" dirty="0"/>
              <a:t>Unit tests must be </a:t>
            </a:r>
            <a:r>
              <a:rPr lang="en-US" b="1" dirty="0"/>
              <a:t>effective</a:t>
            </a:r>
            <a:r>
              <a:rPr lang="en-US" dirty="0"/>
              <a:t> and </a:t>
            </a:r>
            <a:r>
              <a:rPr lang="en-US" b="1" dirty="0"/>
              <a:t>efficient</a:t>
            </a:r>
            <a:endParaRPr lang="en-US" dirty="0"/>
          </a:p>
          <a:p>
            <a:pPr lvl="1"/>
            <a:r>
              <a:rPr lang="en-US" dirty="0"/>
              <a:t>Effective: Find as many mistakes as possible (ideally: all of them)</a:t>
            </a:r>
          </a:p>
          <a:p>
            <a:pPr lvl="1"/>
            <a:r>
              <a:rPr lang="en-US" dirty="0"/>
              <a:t>Efficiency: Use as few and as simple tests as possible to achieve this</a:t>
            </a:r>
          </a:p>
          <a:p>
            <a:r>
              <a:rPr lang="en-US" dirty="0"/>
              <a:t>Fundamentals</a:t>
            </a:r>
          </a:p>
          <a:p>
            <a:pPr lvl="1"/>
            <a:r>
              <a:rPr lang="en-US" dirty="0"/>
              <a:t>Controllability</a:t>
            </a:r>
          </a:p>
          <a:p>
            <a:pPr lvl="1"/>
            <a:r>
              <a:rPr lang="en-US" dirty="0"/>
              <a:t>Observability</a:t>
            </a:r>
          </a:p>
          <a:p>
            <a:pPr lvl="1"/>
            <a:r>
              <a:rPr lang="en-US" dirty="0"/>
              <a:t>Size</a:t>
            </a:r>
          </a:p>
          <a:p>
            <a:r>
              <a:rPr lang="en-US" dirty="0"/>
              <a:t>Rules of thumb</a:t>
            </a:r>
          </a:p>
          <a:p>
            <a:pPr lvl="1"/>
            <a:r>
              <a:rPr lang="en-US" dirty="0"/>
              <a:t>Test functionality, not implementation</a:t>
            </a:r>
          </a:p>
          <a:p>
            <a:pPr lvl="1"/>
            <a:r>
              <a:rPr lang="en-US" dirty="0"/>
              <a:t>Prefer values over state</a:t>
            </a:r>
          </a:p>
          <a:p>
            <a:pPr lvl="1"/>
            <a:r>
              <a:rPr lang="en-US" dirty="0"/>
              <a:t>Prefer state over behavior</a:t>
            </a:r>
          </a:p>
          <a:p>
            <a:pPr lvl="1"/>
            <a:r>
              <a:rPr lang="en-US" dirty="0"/>
              <a:t>Test small units</a:t>
            </a:r>
          </a:p>
          <a:p>
            <a:pPr lvl="1"/>
            <a:r>
              <a:rPr lang="en-US" dirty="0"/>
              <a:t>Use test doubles if </a:t>
            </a:r>
            <a:r>
              <a:rPr lang="en-US" i="1" dirty="0"/>
              <a:t>and only if </a:t>
            </a:r>
            <a:r>
              <a:rPr lang="en-US" dirty="0"/>
              <a:t>the real dependency launches a missile</a:t>
            </a:r>
          </a:p>
          <a:p>
            <a:pPr lvl="1"/>
            <a:endParaRPr lang="en-US" dirty="0"/>
          </a:p>
          <a:p>
            <a:pPr lvl="1"/>
            <a:r>
              <a:rPr lang="en-US" b="1" dirty="0"/>
              <a:t>Your code has to allow tests to be written that way</a:t>
            </a:r>
            <a:endParaRPr lang="de-DE" b="1" dirty="0"/>
          </a:p>
        </p:txBody>
      </p:sp>
    </p:spTree>
    <p:extLst>
      <p:ext uri="{BB962C8B-B14F-4D97-AF65-F5344CB8AC3E}">
        <p14:creationId xmlns:p14="http://schemas.microsoft.com/office/powerpoint/2010/main" val="404326932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tint val="95000"/>
            <a:satMod val="17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D98C488-0E9D-4448-B033-D1FD283CAE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47422" y="1783959"/>
            <a:ext cx="4645250" cy="2889114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dirty="0"/>
              <a:t>Real-World Problem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88AB1E6-B7E5-438E-8480-0B08971F165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747421" y="4750894"/>
            <a:ext cx="4645250" cy="1147863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z="2000" dirty="0">
                <a:solidFill>
                  <a:schemeClr val="tx1"/>
                </a:solidFill>
              </a:rPr>
              <a:t>“This only works for small examples!”</a:t>
            </a: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1DB7C82F-AB7E-4F0C-B829-FA1B9C4151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794" y="0"/>
            <a:ext cx="6172782" cy="6858000"/>
          </a:xfrm>
          <a:custGeom>
            <a:avLst/>
            <a:gdLst>
              <a:gd name="connsiteX0" fmla="*/ 6172782 w 6172782"/>
              <a:gd name="connsiteY0" fmla="*/ 0 h 6858000"/>
              <a:gd name="connsiteX1" fmla="*/ 69075 w 6172782"/>
              <a:gd name="connsiteY1" fmla="*/ 0 h 6858000"/>
              <a:gd name="connsiteX2" fmla="*/ 35131 w 6172782"/>
              <a:gd name="connsiteY2" fmla="*/ 267128 h 6858000"/>
              <a:gd name="connsiteX3" fmla="*/ 0 w 6172782"/>
              <a:gd name="connsiteY3" fmla="*/ 962845 h 6858000"/>
              <a:gd name="connsiteX4" fmla="*/ 3276103 w 6172782"/>
              <a:gd name="connsiteY4" fmla="*/ 6782205 h 6858000"/>
              <a:gd name="connsiteX5" fmla="*/ 3407923 w 6172782"/>
              <a:gd name="connsiteY5" fmla="*/ 6858000 h 6858000"/>
              <a:gd name="connsiteX6" fmla="*/ 6172782 w 6172782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172782" h="6858000">
                <a:moveTo>
                  <a:pt x="6172782" y="0"/>
                </a:moveTo>
                <a:lnTo>
                  <a:pt x="69075" y="0"/>
                </a:lnTo>
                <a:lnTo>
                  <a:pt x="35131" y="267128"/>
                </a:lnTo>
                <a:cubicBezTo>
                  <a:pt x="11901" y="495874"/>
                  <a:pt x="0" y="727970"/>
                  <a:pt x="0" y="962845"/>
                </a:cubicBezTo>
                <a:cubicBezTo>
                  <a:pt x="0" y="3429034"/>
                  <a:pt x="1312002" y="5588789"/>
                  <a:pt x="3276103" y="6782205"/>
                </a:cubicBezTo>
                <a:lnTo>
                  <a:pt x="3407923" y="6858000"/>
                </a:lnTo>
                <a:lnTo>
                  <a:pt x="6172782" y="6858000"/>
                </a:lnTo>
                <a:close/>
              </a:path>
            </a:pathLst>
          </a:cu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2872379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17B5114-0288-4E21-BD27-5450E29916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F50D63A-200C-4A6F-8136-865B3B71FA1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9445029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75714E-18DA-4829-82B5-AB73C07937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96394" y="-1008185"/>
            <a:ext cx="8610600" cy="726831"/>
          </a:xfrm>
        </p:spPr>
        <p:txBody>
          <a:bodyPr/>
          <a:lstStyle/>
          <a:p>
            <a:r>
              <a:rPr lang="en-US" dirty="0"/>
              <a:t>Reasons: Cod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F82FF23-DEAC-4EA5-9D59-9946950A7C2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349557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DD465E3-F00C-4E67-A6B2-DE97415D45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94A3E74-7AEE-4CF3-A449-E8B2C0FA64A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378181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601D6BFB-7333-4662-8DED-5A8FD4D955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179824E-EE62-45F3-BF6F-3793F346296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814621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18DB881-1567-498A-AAC2-1F0E4B17FF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B7DE675-042F-433F-B33A-61DF94C0AA0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93873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5">
            <a:extLst>
              <a:ext uri="{FF2B5EF4-FFF2-40B4-BE49-F238E27FC236}">
                <a16:creationId xmlns:a16="http://schemas.microsoft.com/office/drawing/2014/main" id="{87CC2527-562A-4F69-B487-4371E5B243E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grayWhite">
          <a:xfrm>
            <a:off x="7489416" y="2277614"/>
            <a:ext cx="4703379" cy="4580387"/>
          </a:xfrm>
          <a:custGeom>
            <a:avLst/>
            <a:gdLst>
              <a:gd name="T0" fmla="*/ 1333 w 1333"/>
              <a:gd name="T1" fmla="*/ 1031 h 1298"/>
              <a:gd name="T2" fmla="*/ 1333 w 1333"/>
              <a:gd name="T3" fmla="*/ 380 h 1298"/>
              <a:gd name="T4" fmla="*/ 706 w 1333"/>
              <a:gd name="T5" fmla="*/ 0 h 1298"/>
              <a:gd name="T6" fmla="*/ 0 w 1333"/>
              <a:gd name="T7" fmla="*/ 706 h 1298"/>
              <a:gd name="T8" fmla="*/ 323 w 1333"/>
              <a:gd name="T9" fmla="*/ 1298 h 1298"/>
              <a:gd name="T10" fmla="*/ 1090 w 1333"/>
              <a:gd name="T11" fmla="*/ 1298 h 1298"/>
              <a:gd name="T12" fmla="*/ 1333 w 1333"/>
              <a:gd name="T13" fmla="*/ 1031 h 12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333" h="1298">
                <a:moveTo>
                  <a:pt x="1333" y="1031"/>
                </a:moveTo>
                <a:cubicBezTo>
                  <a:pt x="1333" y="380"/>
                  <a:pt x="1333" y="380"/>
                  <a:pt x="1333" y="380"/>
                </a:cubicBezTo>
                <a:cubicBezTo>
                  <a:pt x="1215" y="154"/>
                  <a:pt x="979" y="0"/>
                  <a:pt x="706" y="0"/>
                </a:cubicBezTo>
                <a:cubicBezTo>
                  <a:pt x="317" y="0"/>
                  <a:pt x="0" y="316"/>
                  <a:pt x="0" y="706"/>
                </a:cubicBezTo>
                <a:cubicBezTo>
                  <a:pt x="0" y="954"/>
                  <a:pt x="129" y="1172"/>
                  <a:pt x="323" y="1298"/>
                </a:cubicBezTo>
                <a:cubicBezTo>
                  <a:pt x="1090" y="1298"/>
                  <a:pt x="1090" y="1298"/>
                  <a:pt x="1090" y="1298"/>
                </a:cubicBezTo>
                <a:cubicBezTo>
                  <a:pt x="1193" y="1232"/>
                  <a:pt x="1276" y="1140"/>
                  <a:pt x="1333" y="1031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 w="50800" cap="sq" cmpd="dbl">
            <a:noFill/>
            <a:miter lim="800000"/>
          </a:ln>
          <a:effectLst/>
        </p:spPr>
        <p:txBody>
          <a:bodyPr vert="horz" lIns="91440" tIns="45720" rIns="91440" bIns="45720" rtlCol="0" anchor="t">
            <a:normAutofit/>
          </a:bodyPr>
          <a:lstStyle/>
          <a:p>
            <a:pPr algn="ctr">
              <a:spcAft>
                <a:spcPts val="1000"/>
              </a:spcAft>
              <a:buClr>
                <a:prstClr val="black"/>
              </a:buClr>
              <a:buSzPct val="100000"/>
            </a:pPr>
            <a:endParaRPr lang="en-US" sz="1600" cap="all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D4F0E2C-09FB-4710-AD0E-7952DD7267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22816" y="3231931"/>
            <a:ext cx="3852041" cy="1834056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ctr"/>
            <a:r>
              <a:rPr lang="en-US" sz="4000" dirty="0"/>
              <a:t>Workshop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508477E-3218-4E69-B499-D6443035EBB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783704" y="5242675"/>
            <a:ext cx="4330262" cy="683284"/>
          </a:xfrm>
        </p:spPr>
        <p:txBody>
          <a:bodyPr vert="horz" lIns="91440" tIns="45720" rIns="91440" bIns="45720" rtlCol="0">
            <a:normAutofit/>
          </a:bodyPr>
          <a:lstStyle/>
          <a:p>
            <a:pPr algn="ctr"/>
            <a:r>
              <a:rPr lang="en-US" sz="2000" dirty="0">
                <a:solidFill>
                  <a:schemeClr val="tx1"/>
                </a:solidFill>
              </a:rPr>
              <a:t>Let’s do it!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CDAEC91-5BCE-4B55-9CC0-43EF94CB734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9481125" y="5123793"/>
            <a:ext cx="935420" cy="0"/>
          </a:xfrm>
          <a:prstGeom prst="line">
            <a:avLst/>
          </a:prstGeom>
          <a:ln w="25400" cap="sq">
            <a:solidFill>
              <a:schemeClr val="tx1">
                <a:lumMod val="85000"/>
                <a:lumOff val="15000"/>
              </a:schemeClr>
            </a:solidFill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0952357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F9EEC192-1677-4907-9287-4797786592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8" y="1946734"/>
            <a:ext cx="10261600" cy="677108"/>
          </a:xfrm>
        </p:spPr>
        <p:txBody>
          <a:bodyPr/>
          <a:lstStyle/>
          <a:p>
            <a:pPr algn="ctr"/>
            <a:r>
              <a:rPr lang="en-US" sz="4400" dirty="0"/>
              <a:t>Problem</a:t>
            </a:r>
            <a:endParaRPr lang="en-DE" sz="4400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3740FBA-EBB8-4C2B-B543-7BFA0D8AA49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008DB99-242D-4DDB-BE06-6CC9AC6DF1F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882093"/>
            <a:ext cx="10261600" cy="2247245"/>
          </a:xfrm>
        </p:spPr>
        <p:txBody>
          <a:bodyPr/>
          <a:lstStyle/>
          <a:p>
            <a:pPr algn="ctr"/>
            <a:r>
              <a:rPr lang="en-US" sz="2800" dirty="0"/>
              <a:t>How can tests drive the design of a program?</a:t>
            </a:r>
            <a:endParaRPr lang="en-DE" sz="2800" dirty="0"/>
          </a:p>
        </p:txBody>
      </p:sp>
    </p:spTree>
    <p:extLst>
      <p:ext uri="{BB962C8B-B14F-4D97-AF65-F5344CB8AC3E}">
        <p14:creationId xmlns:p14="http://schemas.microsoft.com/office/powerpoint/2010/main" val="136336336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D70B121-56F4-4848-B38B-182089D909F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ltGray">
          <a:xfrm>
            <a:off x="322358" y="320040"/>
            <a:ext cx="11548872" cy="6217920"/>
          </a:xfrm>
          <a:prstGeom prst="rect">
            <a:avLst/>
          </a:prstGeom>
          <a:solidFill>
            <a:schemeClr val="tx1">
              <a:alpha val="8000"/>
            </a:schemeClr>
          </a:solidFill>
          <a:ln w="127000" cap="sq" cmpd="thinThick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6CA1DC0-A0A2-4A88-83E9-D596651AA1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994" y="963877"/>
            <a:ext cx="3494362" cy="4930246"/>
          </a:xfrm>
        </p:spPr>
        <p:txBody>
          <a:bodyPr>
            <a:normAutofit/>
          </a:bodyPr>
          <a:lstStyle/>
          <a:p>
            <a:pPr algn="r"/>
            <a:r>
              <a:rPr lang="en-US" dirty="0">
                <a:solidFill>
                  <a:schemeClr val="accent1"/>
                </a:solidFill>
              </a:rPr>
              <a:t>Workshop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D72A2C9-F3CA-4216-8BAD-FA4C970C3C4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4655090" y="2057400"/>
            <a:ext cx="0" cy="2743200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F0C7BA5-8FF0-4B8E-8199-8C4D12D7270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76826" y="963877"/>
            <a:ext cx="6377769" cy="4930246"/>
          </a:xfrm>
        </p:spPr>
        <p:txBody>
          <a:bodyPr anchor="ctr">
            <a:normAutofit/>
          </a:bodyPr>
          <a:lstStyle/>
          <a:p>
            <a:r>
              <a:rPr lang="en-US" sz="2400" dirty="0"/>
              <a:t>https://github.com/hoelzl/StackCpp</a:t>
            </a:r>
          </a:p>
          <a:p>
            <a:pPr lvl="1"/>
            <a:r>
              <a:rPr lang="en-US" dirty="0"/>
              <a:t>Simple integer stack:</a:t>
            </a:r>
          </a:p>
          <a:p>
            <a:pPr lvl="1"/>
            <a:r>
              <a:rPr lang="en-US" dirty="0"/>
              <a:t>Push(), Pop() methods</a:t>
            </a:r>
          </a:p>
          <a:p>
            <a:pPr lvl="1"/>
            <a:r>
              <a:rPr lang="en-US" dirty="0"/>
              <a:t>Extensions</a:t>
            </a:r>
          </a:p>
          <a:p>
            <a:r>
              <a:rPr lang="en-US" sz="2400" dirty="0"/>
              <a:t>https://github.com/hoelzl/Employee</a:t>
            </a:r>
          </a:p>
          <a:p>
            <a:pPr lvl="1"/>
            <a:r>
              <a:rPr lang="en-US" dirty="0"/>
              <a:t>Employee class:</a:t>
            </a:r>
          </a:p>
          <a:p>
            <a:pPr lvl="1"/>
            <a:r>
              <a:rPr lang="en-US" dirty="0"/>
              <a:t>Difficult to test (despite its small size)</a:t>
            </a:r>
          </a:p>
          <a:p>
            <a:pPr lvl="1"/>
            <a:r>
              <a:rPr lang="en-US" dirty="0"/>
              <a:t>How can we improve testability/tests</a:t>
            </a:r>
          </a:p>
        </p:txBody>
      </p:sp>
    </p:spTree>
    <p:extLst>
      <p:ext uri="{BB962C8B-B14F-4D97-AF65-F5344CB8AC3E}">
        <p14:creationId xmlns:p14="http://schemas.microsoft.com/office/powerpoint/2010/main" val="72640104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C41E2F1-6ED8-496D-B969-5C44D1F27DA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934935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54DDEBDD-D8BD-41A6-8A0D-B00E3768B0F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 flipV="1">
            <a:off x="794" y="0"/>
            <a:ext cx="12192000" cy="6858000"/>
          </a:xfrm>
          <a:prstGeom prst="rect">
            <a:avLst/>
          </a:prstGeom>
        </p:spPr>
      </p:pic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EC0BD2BE-AC1A-40B4-9461-5DF386A0746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05792" y="2272143"/>
            <a:ext cx="4706803" cy="3788830"/>
          </a:xfrm>
        </p:spPr>
        <p:txBody>
          <a:bodyPr anchor="ctr">
            <a:normAutofit/>
          </a:bodyPr>
          <a:lstStyle/>
          <a:p>
            <a:r>
              <a:rPr lang="en-US" sz="2000" dirty="0">
                <a:solidFill>
                  <a:srgbClr val="000000"/>
                </a:solidFill>
              </a:rPr>
              <a:t>You place things on the top of a stack</a:t>
            </a:r>
          </a:p>
          <a:p>
            <a:r>
              <a:rPr lang="en-US" sz="2000" dirty="0">
                <a:solidFill>
                  <a:srgbClr val="000000"/>
                </a:solidFill>
              </a:rPr>
              <a:t>You take things from the top of a stack</a:t>
            </a:r>
          </a:p>
          <a:p>
            <a:r>
              <a:rPr lang="en-US" sz="2000" dirty="0">
                <a:solidFill>
                  <a:srgbClr val="000000"/>
                </a:solidFill>
              </a:rPr>
              <a:t>A stack can be empty</a:t>
            </a:r>
          </a:p>
          <a:p>
            <a:r>
              <a:rPr lang="en-US" sz="2000" dirty="0">
                <a:solidFill>
                  <a:srgbClr val="000000"/>
                </a:solidFill>
              </a:rPr>
              <a:t>Last In, First Out (LIFO)</a:t>
            </a:r>
          </a:p>
        </p:txBody>
      </p:sp>
    </p:spTree>
    <p:extLst>
      <p:ext uri="{BB962C8B-B14F-4D97-AF65-F5344CB8AC3E}">
        <p14:creationId xmlns:p14="http://schemas.microsoft.com/office/powerpoint/2010/main" val="114321306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tint val="95000"/>
            <a:satMod val="17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9C0C87-C4B0-4999-8806-3C5DE127BF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5467" y="4385067"/>
            <a:ext cx="10694902" cy="1317643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z="6000" dirty="0"/>
              <a:t>That’s a queue, not a stack! (FIFO)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800968E-0A99-46C4-A9B2-6A63AC66F4B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792" y="4242136"/>
            <a:ext cx="12192002" cy="0"/>
          </a:xfrm>
          <a:prstGeom prst="line">
            <a:avLst/>
          </a:prstGeom>
          <a:ln w="1016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C7F482A-18BD-4131-A8E1-86EEC46DA07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31447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4038CB10-1F5C-4D54-9DF7-12586DE5B00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28341" y="4572000"/>
            <a:ext cx="7058307" cy="1964266"/>
          </a:xfrm>
          <a:prstGeom prst="rect">
            <a:avLst/>
          </a:prstGeom>
          <a:solidFill>
            <a:srgbClr val="355D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F1D2B53-DC82-4A32-B920-6AF9DEF69C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5051" y="4767072"/>
            <a:ext cx="6594189" cy="1625210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r"/>
            <a:r>
              <a:rPr lang="en-US" dirty="0">
                <a:solidFill>
                  <a:srgbClr val="FFFFFF"/>
                </a:solidFill>
              </a:rPr>
              <a:t>Work Step By Step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3ED6512-6858-4552-B699-9A97FE9A4EA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7535450" y="321732"/>
            <a:ext cx="4335613" cy="6214534"/>
          </a:xfrm>
          <a:prstGeom prst="rect">
            <a:avLst/>
          </a:prstGeom>
          <a:solidFill>
            <a:srgbClr val="4040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9C2D024-8541-447B-A6C0-D0AF5494D12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030114" y="917725"/>
            <a:ext cx="3424739" cy="4852362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marL="0" indent="0">
              <a:buNone/>
            </a:pPr>
            <a:r>
              <a:rPr lang="en-US" sz="2000" dirty="0">
                <a:solidFill>
                  <a:srgbClr val="FFFFFF"/>
                </a:solidFill>
              </a:rPr>
              <a:t>Please:</a:t>
            </a:r>
          </a:p>
          <a:p>
            <a:r>
              <a:rPr lang="en-US" sz="2000" dirty="0">
                <a:solidFill>
                  <a:srgbClr val="FFFFFF"/>
                </a:solidFill>
              </a:rPr>
              <a:t>Try the workshop yourself</a:t>
            </a:r>
          </a:p>
          <a:p>
            <a:r>
              <a:rPr lang="en-US" sz="2000" dirty="0">
                <a:solidFill>
                  <a:srgbClr val="FFFFFF"/>
                </a:solidFill>
              </a:rPr>
              <a:t>Don’t look ahead</a:t>
            </a:r>
          </a:p>
          <a:p>
            <a:r>
              <a:rPr lang="en-US" sz="2000" dirty="0">
                <a:solidFill>
                  <a:srgbClr val="FFFFFF"/>
                </a:solidFill>
              </a:rPr>
              <a:t>Don’t peek at the final tasks</a:t>
            </a:r>
          </a:p>
          <a:p>
            <a:pPr marL="0" indent="0">
              <a:buNone/>
            </a:pPr>
            <a:endParaRPr lang="en-US" sz="2000" dirty="0">
              <a:solidFill>
                <a:srgbClr val="FFFFFF"/>
              </a:solidFill>
            </a:endParaRPr>
          </a:p>
          <a:p>
            <a:pPr marL="0" indent="0">
              <a:buNone/>
            </a:pPr>
            <a:r>
              <a:rPr lang="en-US" sz="2000" dirty="0">
                <a:solidFill>
                  <a:srgbClr val="FFFFFF"/>
                </a:solidFill>
              </a:rPr>
              <a:t>Otherwise you’ll miss the most important payoff of this workshop</a:t>
            </a:r>
          </a:p>
          <a:p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39397DF5-D23E-45F6-B25C-8BD841EE43BD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476333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own Arrow 7">
            <a:extLst>
              <a:ext uri="{FF2B5EF4-FFF2-40B4-BE49-F238E27FC236}">
                <a16:creationId xmlns:a16="http://schemas.microsoft.com/office/drawing/2014/main" id="{B547373F-AF2E-4907-B442-9F902B387F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00895" y="-4763"/>
            <a:ext cx="3333749" cy="3338514"/>
          </a:xfrm>
          <a:prstGeom prst="downArrow">
            <a:avLst>
              <a:gd name="adj1" fmla="val 100000"/>
              <a:gd name="adj2" fmla="val 26890"/>
            </a:avLst>
          </a:prstGeom>
          <a:solidFill>
            <a:schemeClr val="tx1">
              <a:lumMod val="85000"/>
              <a:lumOff val="15000"/>
            </a:schemeClr>
          </a:solidFill>
          <a:ln w="539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98AB7CB-191B-4408-93BF-2262EDFB6C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9495" y="190501"/>
            <a:ext cx="2886075" cy="2486024"/>
          </a:xfrm>
          <a:noFill/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3600" dirty="0">
                <a:solidFill>
                  <a:schemeClr val="bg1"/>
                </a:solidFill>
              </a:rPr>
              <a:t>Beware of Internals</a:t>
            </a:r>
          </a:p>
        </p:txBody>
      </p:sp>
    </p:spTree>
    <p:extLst>
      <p:ext uri="{BB962C8B-B14F-4D97-AF65-F5344CB8AC3E}">
        <p14:creationId xmlns:p14="http://schemas.microsoft.com/office/powerpoint/2010/main" val="298451093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75714E-18DA-4829-82B5-AB73C07937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hy </a:t>
            </a:r>
            <a:r>
              <a:rPr lang="en-US" dirty="0"/>
              <a:t>is Production Code Difficult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EE0BFF5-25BF-43E2-AE63-EABDACEC69C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Large classes, methods</a:t>
            </a:r>
          </a:p>
          <a:p>
            <a:r>
              <a:rPr lang="en-US" dirty="0"/>
              <a:t>Lots of state, little functional decomposition</a:t>
            </a:r>
          </a:p>
          <a:p>
            <a:r>
              <a:rPr lang="en-US" dirty="0"/>
              <a:t>Many dependencies</a:t>
            </a:r>
          </a:p>
          <a:p>
            <a:r>
              <a:rPr lang="en-US" dirty="0"/>
              <a:t>Inappropriate abstractions</a:t>
            </a:r>
          </a:p>
          <a:p>
            <a:pPr lvl="1"/>
            <a:r>
              <a:rPr lang="en-US" dirty="0"/>
              <a:t>Too little abstraction</a:t>
            </a:r>
          </a:p>
          <a:p>
            <a:pPr lvl="1"/>
            <a:r>
              <a:rPr lang="en-US" dirty="0"/>
              <a:t>Bad abstractions</a:t>
            </a:r>
          </a:p>
          <a:p>
            <a:pPr lvl="1"/>
            <a:r>
              <a:rPr lang="en-US" dirty="0"/>
              <a:t>Too much abstraction(?)</a:t>
            </a:r>
          </a:p>
          <a:p>
            <a:r>
              <a:rPr lang="en-US" dirty="0"/>
              <a:t>Dependence on insufficiently tested component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015626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6D331DB-E4F1-4DAC-80B7-0A25D06560F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FA2A41E-C675-4A4D-8B7F-F47CA29F508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algn="ctr"/>
            <a:r>
              <a:rPr lang="en-US" sz="4000" dirty="0"/>
              <a:t>Refactoring</a:t>
            </a:r>
            <a:endParaRPr lang="en-DE" sz="4000" dirty="0"/>
          </a:p>
        </p:txBody>
      </p:sp>
    </p:spTree>
    <p:extLst>
      <p:ext uri="{BB962C8B-B14F-4D97-AF65-F5344CB8AC3E}">
        <p14:creationId xmlns:p14="http://schemas.microsoft.com/office/powerpoint/2010/main" val="126432939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FEA2EF25-A8A2-41BE-BA11-DE58099A58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actoring</a:t>
            </a:r>
            <a:endParaRPr lang="en-DE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7B9D370-B5EC-4ECE-9DE2-A9DDD0CA97A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D37CF28-CC14-4A66-AE65-846B58CA892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mprove the design of the program in small increm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 correctness of these steps is ensured by our test suite</a:t>
            </a:r>
            <a:endParaRPr lang="en-DE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B4F143B-1E41-463C-8231-D4CF3F67EAD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471982" y="3033713"/>
            <a:ext cx="3967298" cy="640515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Small increments are important!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254182805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66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5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18"/>
                <a:cs typeface="Arial" pitchFamily="18"/>
              </a:rPr>
              <a:t>© Coding Akademie München GmbH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ACC00BC-A933-475E-BA8C-DAB1C0D495ED}"/>
              </a:ext>
            </a:extLst>
          </p:cNvPr>
          <p:cNvSpPr/>
          <p:nvPr/>
        </p:nvSpPr>
        <p:spPr>
          <a:xfrm>
            <a:off x="287339" y="1224000"/>
            <a:ext cx="397245" cy="563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D5F1A82-A5F7-4B2F-ADE4-641B8D7569D2}"/>
              </a:ext>
            </a:extLst>
          </p:cNvPr>
          <p:cNvSpPr txBox="1">
            <a:spLocks/>
          </p:cNvSpPr>
          <p:nvPr/>
        </p:nvSpPr>
        <p:spPr>
          <a:xfrm>
            <a:off x="947738" y="1946734"/>
            <a:ext cx="9199562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/>
            </a:pPr>
            <a:r>
              <a:rPr kumimoji="0" lang="de-DE" sz="2500" b="0" i="0" u="none" strike="noStrike" kern="0" cap="all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18"/>
                <a:ea typeface="+mn-ea"/>
                <a:cs typeface="Arial" pitchFamily="18"/>
              </a:rPr>
              <a:t>So What?</a:t>
            </a:r>
          </a:p>
        </p:txBody>
      </p:sp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E34B1B97-E3D9-D840-A8C0-F6C02911A8D8}"/>
              </a:ext>
            </a:extLst>
          </p:cNvPr>
          <p:cNvCxnSpPr>
            <a:cxnSpLocks/>
          </p:cNvCxnSpPr>
          <p:nvPr/>
        </p:nvCxnSpPr>
        <p:spPr>
          <a:xfrm flipV="1">
            <a:off x="1773936" y="2944368"/>
            <a:ext cx="0" cy="3200400"/>
          </a:xfrm>
          <a:prstGeom prst="straightConnector1">
            <a:avLst/>
          </a:prstGeom>
          <a:ln w="50800">
            <a:solidFill>
              <a:srgbClr val="1D8748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F1B48662-8B9C-7E49-90E4-8728C49E6B8E}"/>
              </a:ext>
            </a:extLst>
          </p:cNvPr>
          <p:cNvCxnSpPr>
            <a:cxnSpLocks/>
          </p:cNvCxnSpPr>
          <p:nvPr/>
        </p:nvCxnSpPr>
        <p:spPr>
          <a:xfrm>
            <a:off x="1773936" y="6144768"/>
            <a:ext cx="7315200" cy="0"/>
          </a:xfrm>
          <a:prstGeom prst="straightConnector1">
            <a:avLst/>
          </a:prstGeom>
          <a:ln w="508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72E30E20-161E-384C-BAB4-C0A733BCAC69}"/>
              </a:ext>
            </a:extLst>
          </p:cNvPr>
          <p:cNvSpPr txBox="1"/>
          <p:nvPr/>
        </p:nvSpPr>
        <p:spPr>
          <a:xfrm rot="16200000">
            <a:off x="651432" y="4361502"/>
            <a:ext cx="177644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D874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ductivity</a:t>
            </a:r>
            <a:endParaRPr kumimoji="0" lang="en-DE" sz="2400" b="0" i="0" u="none" strike="noStrike" kern="1200" cap="none" spc="0" normalizeH="0" baseline="0" noProof="0" dirty="0">
              <a:ln>
                <a:noFill/>
              </a:ln>
              <a:solidFill>
                <a:srgbClr val="1D874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3AE39BB-50DF-1147-932F-29611BC76021}"/>
              </a:ext>
            </a:extLst>
          </p:cNvPr>
          <p:cNvSpPr txBox="1"/>
          <p:nvPr/>
        </p:nvSpPr>
        <p:spPr>
          <a:xfrm>
            <a:off x="9217152" y="5869159"/>
            <a:ext cx="85773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ime</a:t>
            </a:r>
            <a:endParaRPr kumimoji="0" lang="en-DE" sz="24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A4FB6E3C-F9A4-ED41-90C3-90AB7A03A19C}"/>
              </a:ext>
            </a:extLst>
          </p:cNvPr>
          <p:cNvCxnSpPr>
            <a:cxnSpLocks/>
          </p:cNvCxnSpPr>
          <p:nvPr/>
        </p:nvCxnSpPr>
        <p:spPr>
          <a:xfrm>
            <a:off x="1847088" y="3200400"/>
            <a:ext cx="7242048" cy="0"/>
          </a:xfrm>
          <a:prstGeom prst="line">
            <a:avLst/>
          </a:prstGeom>
          <a:ln w="31750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reeform 8">
            <a:extLst>
              <a:ext uri="{FF2B5EF4-FFF2-40B4-BE49-F238E27FC236}">
                <a16:creationId xmlns:a16="http://schemas.microsoft.com/office/drawing/2014/main" id="{FADEF651-5E5B-2E40-84B4-16E06E36AA93}"/>
              </a:ext>
            </a:extLst>
          </p:cNvPr>
          <p:cNvSpPr/>
          <p:nvPr/>
        </p:nvSpPr>
        <p:spPr>
          <a:xfrm>
            <a:off x="1806498" y="4415883"/>
            <a:ext cx="7170234" cy="1728439"/>
          </a:xfrm>
          <a:custGeom>
            <a:avLst/>
            <a:gdLst>
              <a:gd name="connsiteX0" fmla="*/ 0 w 7170234"/>
              <a:gd name="connsiteY0" fmla="*/ 1728439 h 1728439"/>
              <a:gd name="connsiteX1" fmla="*/ 66907 w 7170234"/>
              <a:gd name="connsiteY1" fmla="*/ 1639229 h 1728439"/>
              <a:gd name="connsiteX2" fmla="*/ 89209 w 7170234"/>
              <a:gd name="connsiteY2" fmla="*/ 1605776 h 1728439"/>
              <a:gd name="connsiteX3" fmla="*/ 156117 w 7170234"/>
              <a:gd name="connsiteY3" fmla="*/ 1538868 h 1728439"/>
              <a:gd name="connsiteX4" fmla="*/ 189570 w 7170234"/>
              <a:gd name="connsiteY4" fmla="*/ 1505415 h 1728439"/>
              <a:gd name="connsiteX5" fmla="*/ 267629 w 7170234"/>
              <a:gd name="connsiteY5" fmla="*/ 1416205 h 1728439"/>
              <a:gd name="connsiteX6" fmla="*/ 301082 w 7170234"/>
              <a:gd name="connsiteY6" fmla="*/ 1371600 h 1728439"/>
              <a:gd name="connsiteX7" fmla="*/ 334536 w 7170234"/>
              <a:gd name="connsiteY7" fmla="*/ 1349297 h 1728439"/>
              <a:gd name="connsiteX8" fmla="*/ 356839 w 7170234"/>
              <a:gd name="connsiteY8" fmla="*/ 1326995 h 1728439"/>
              <a:gd name="connsiteX9" fmla="*/ 490653 w 7170234"/>
              <a:gd name="connsiteY9" fmla="*/ 1215483 h 1728439"/>
              <a:gd name="connsiteX10" fmla="*/ 512956 w 7170234"/>
              <a:gd name="connsiteY10" fmla="*/ 1182029 h 1728439"/>
              <a:gd name="connsiteX11" fmla="*/ 579863 w 7170234"/>
              <a:gd name="connsiteY11" fmla="*/ 1115122 h 1728439"/>
              <a:gd name="connsiteX12" fmla="*/ 669073 w 7170234"/>
              <a:gd name="connsiteY12" fmla="*/ 1014761 h 1728439"/>
              <a:gd name="connsiteX13" fmla="*/ 702526 w 7170234"/>
              <a:gd name="connsiteY13" fmla="*/ 981307 h 1728439"/>
              <a:gd name="connsiteX14" fmla="*/ 735980 w 7170234"/>
              <a:gd name="connsiteY14" fmla="*/ 959005 h 1728439"/>
              <a:gd name="connsiteX15" fmla="*/ 780585 w 7170234"/>
              <a:gd name="connsiteY15" fmla="*/ 914400 h 1728439"/>
              <a:gd name="connsiteX16" fmla="*/ 836341 w 7170234"/>
              <a:gd name="connsiteY16" fmla="*/ 869795 h 1728439"/>
              <a:gd name="connsiteX17" fmla="*/ 869795 w 7170234"/>
              <a:gd name="connsiteY17" fmla="*/ 847493 h 1728439"/>
              <a:gd name="connsiteX18" fmla="*/ 892097 w 7170234"/>
              <a:gd name="connsiteY18" fmla="*/ 825190 h 1728439"/>
              <a:gd name="connsiteX19" fmla="*/ 936702 w 7170234"/>
              <a:gd name="connsiteY19" fmla="*/ 802888 h 1728439"/>
              <a:gd name="connsiteX20" fmla="*/ 970156 w 7170234"/>
              <a:gd name="connsiteY20" fmla="*/ 758283 h 1728439"/>
              <a:gd name="connsiteX21" fmla="*/ 1059365 w 7170234"/>
              <a:gd name="connsiteY21" fmla="*/ 713678 h 1728439"/>
              <a:gd name="connsiteX22" fmla="*/ 1148575 w 7170234"/>
              <a:gd name="connsiteY22" fmla="*/ 646771 h 1728439"/>
              <a:gd name="connsiteX23" fmla="*/ 1182029 w 7170234"/>
              <a:gd name="connsiteY23" fmla="*/ 613317 h 1728439"/>
              <a:gd name="connsiteX24" fmla="*/ 1215482 w 7170234"/>
              <a:gd name="connsiteY24" fmla="*/ 602166 h 1728439"/>
              <a:gd name="connsiteX25" fmla="*/ 1293541 w 7170234"/>
              <a:gd name="connsiteY25" fmla="*/ 535258 h 1728439"/>
              <a:gd name="connsiteX26" fmla="*/ 1338146 w 7170234"/>
              <a:gd name="connsiteY26" fmla="*/ 512956 h 1728439"/>
              <a:gd name="connsiteX27" fmla="*/ 1371600 w 7170234"/>
              <a:gd name="connsiteY27" fmla="*/ 479502 h 1728439"/>
              <a:gd name="connsiteX28" fmla="*/ 1416204 w 7170234"/>
              <a:gd name="connsiteY28" fmla="*/ 468351 h 1728439"/>
              <a:gd name="connsiteX29" fmla="*/ 1449658 w 7170234"/>
              <a:gd name="connsiteY29" fmla="*/ 457200 h 1728439"/>
              <a:gd name="connsiteX30" fmla="*/ 1505414 w 7170234"/>
              <a:gd name="connsiteY30" fmla="*/ 423746 h 1728439"/>
              <a:gd name="connsiteX31" fmla="*/ 1594624 w 7170234"/>
              <a:gd name="connsiteY31" fmla="*/ 401444 h 1728439"/>
              <a:gd name="connsiteX32" fmla="*/ 1650380 w 7170234"/>
              <a:gd name="connsiteY32" fmla="*/ 379141 h 1728439"/>
              <a:gd name="connsiteX33" fmla="*/ 1773043 w 7170234"/>
              <a:gd name="connsiteY33" fmla="*/ 323385 h 1728439"/>
              <a:gd name="connsiteX34" fmla="*/ 1839951 w 7170234"/>
              <a:gd name="connsiteY34" fmla="*/ 278780 h 1728439"/>
              <a:gd name="connsiteX35" fmla="*/ 1873404 w 7170234"/>
              <a:gd name="connsiteY35" fmla="*/ 267629 h 1728439"/>
              <a:gd name="connsiteX36" fmla="*/ 1940312 w 7170234"/>
              <a:gd name="connsiteY36" fmla="*/ 223024 h 1728439"/>
              <a:gd name="connsiteX37" fmla="*/ 2074126 w 7170234"/>
              <a:gd name="connsiteY37" fmla="*/ 178419 h 1728439"/>
              <a:gd name="connsiteX38" fmla="*/ 2141034 w 7170234"/>
              <a:gd name="connsiteY38" fmla="*/ 167268 h 1728439"/>
              <a:gd name="connsiteX39" fmla="*/ 2263697 w 7170234"/>
              <a:gd name="connsiteY39" fmla="*/ 133815 h 1728439"/>
              <a:gd name="connsiteX40" fmla="*/ 2297151 w 7170234"/>
              <a:gd name="connsiteY40" fmla="*/ 122663 h 1728439"/>
              <a:gd name="connsiteX41" fmla="*/ 2341756 w 7170234"/>
              <a:gd name="connsiteY41" fmla="*/ 111512 h 1728439"/>
              <a:gd name="connsiteX42" fmla="*/ 2542478 w 7170234"/>
              <a:gd name="connsiteY42" fmla="*/ 44605 h 1728439"/>
              <a:gd name="connsiteX43" fmla="*/ 2631687 w 7170234"/>
              <a:gd name="connsiteY43" fmla="*/ 22302 h 1728439"/>
              <a:gd name="connsiteX44" fmla="*/ 2665141 w 7170234"/>
              <a:gd name="connsiteY44" fmla="*/ 11151 h 1728439"/>
              <a:gd name="connsiteX45" fmla="*/ 2798956 w 7170234"/>
              <a:gd name="connsiteY45" fmla="*/ 0 h 1728439"/>
              <a:gd name="connsiteX46" fmla="*/ 3490331 w 7170234"/>
              <a:gd name="connsiteY46" fmla="*/ 11151 h 1728439"/>
              <a:gd name="connsiteX47" fmla="*/ 3557239 w 7170234"/>
              <a:gd name="connsiteY47" fmla="*/ 22302 h 1728439"/>
              <a:gd name="connsiteX48" fmla="*/ 3679902 w 7170234"/>
              <a:gd name="connsiteY48" fmla="*/ 33454 h 1728439"/>
              <a:gd name="connsiteX49" fmla="*/ 3724507 w 7170234"/>
              <a:gd name="connsiteY49" fmla="*/ 44605 h 1728439"/>
              <a:gd name="connsiteX50" fmla="*/ 3925229 w 7170234"/>
              <a:gd name="connsiteY50" fmla="*/ 78058 h 1728439"/>
              <a:gd name="connsiteX51" fmla="*/ 4070195 w 7170234"/>
              <a:gd name="connsiteY51" fmla="*/ 122663 h 1728439"/>
              <a:gd name="connsiteX52" fmla="*/ 4103648 w 7170234"/>
              <a:gd name="connsiteY52" fmla="*/ 133815 h 1728439"/>
              <a:gd name="connsiteX53" fmla="*/ 4159404 w 7170234"/>
              <a:gd name="connsiteY53" fmla="*/ 144966 h 1728439"/>
              <a:gd name="connsiteX54" fmla="*/ 4181707 w 7170234"/>
              <a:gd name="connsiteY54" fmla="*/ 178419 h 1728439"/>
              <a:gd name="connsiteX55" fmla="*/ 4226312 w 7170234"/>
              <a:gd name="connsiteY55" fmla="*/ 189571 h 1728439"/>
              <a:gd name="connsiteX56" fmla="*/ 4315522 w 7170234"/>
              <a:gd name="connsiteY56" fmla="*/ 223024 h 1728439"/>
              <a:gd name="connsiteX57" fmla="*/ 4404731 w 7170234"/>
              <a:gd name="connsiteY57" fmla="*/ 289932 h 1728439"/>
              <a:gd name="connsiteX58" fmla="*/ 4438185 w 7170234"/>
              <a:gd name="connsiteY58" fmla="*/ 301083 h 1728439"/>
              <a:gd name="connsiteX59" fmla="*/ 4482790 w 7170234"/>
              <a:gd name="connsiteY59" fmla="*/ 334537 h 1728439"/>
              <a:gd name="connsiteX60" fmla="*/ 4583151 w 7170234"/>
              <a:gd name="connsiteY60" fmla="*/ 356839 h 1728439"/>
              <a:gd name="connsiteX61" fmla="*/ 4772722 w 7170234"/>
              <a:gd name="connsiteY61" fmla="*/ 412595 h 1728439"/>
              <a:gd name="connsiteX62" fmla="*/ 4828478 w 7170234"/>
              <a:gd name="connsiteY62" fmla="*/ 446049 h 1728439"/>
              <a:gd name="connsiteX63" fmla="*/ 4895385 w 7170234"/>
              <a:gd name="connsiteY63" fmla="*/ 490654 h 1728439"/>
              <a:gd name="connsiteX64" fmla="*/ 4984595 w 7170234"/>
              <a:gd name="connsiteY64" fmla="*/ 535258 h 1728439"/>
              <a:gd name="connsiteX65" fmla="*/ 5062653 w 7170234"/>
              <a:gd name="connsiteY65" fmla="*/ 557561 h 1728439"/>
              <a:gd name="connsiteX66" fmla="*/ 5174165 w 7170234"/>
              <a:gd name="connsiteY66" fmla="*/ 613317 h 1728439"/>
              <a:gd name="connsiteX67" fmla="*/ 5352585 w 7170234"/>
              <a:gd name="connsiteY67" fmla="*/ 702527 h 1728439"/>
              <a:gd name="connsiteX68" fmla="*/ 5419492 w 7170234"/>
              <a:gd name="connsiteY68" fmla="*/ 735980 h 1728439"/>
              <a:gd name="connsiteX69" fmla="*/ 5452946 w 7170234"/>
              <a:gd name="connsiteY69" fmla="*/ 747132 h 1728439"/>
              <a:gd name="connsiteX70" fmla="*/ 5531004 w 7170234"/>
              <a:gd name="connsiteY70" fmla="*/ 780585 h 1728439"/>
              <a:gd name="connsiteX71" fmla="*/ 5631365 w 7170234"/>
              <a:gd name="connsiteY71" fmla="*/ 836341 h 1728439"/>
              <a:gd name="connsiteX72" fmla="*/ 5698273 w 7170234"/>
              <a:gd name="connsiteY72" fmla="*/ 858644 h 1728439"/>
              <a:gd name="connsiteX73" fmla="*/ 5731726 w 7170234"/>
              <a:gd name="connsiteY73" fmla="*/ 869795 h 1728439"/>
              <a:gd name="connsiteX74" fmla="*/ 5765180 w 7170234"/>
              <a:gd name="connsiteY74" fmla="*/ 903249 h 1728439"/>
              <a:gd name="connsiteX75" fmla="*/ 5798634 w 7170234"/>
              <a:gd name="connsiteY75" fmla="*/ 914400 h 1728439"/>
              <a:gd name="connsiteX76" fmla="*/ 5876692 w 7170234"/>
              <a:gd name="connsiteY76" fmla="*/ 947854 h 1728439"/>
              <a:gd name="connsiteX77" fmla="*/ 5965902 w 7170234"/>
              <a:gd name="connsiteY77" fmla="*/ 1014761 h 1728439"/>
              <a:gd name="connsiteX78" fmla="*/ 6010507 w 7170234"/>
              <a:gd name="connsiteY78" fmla="*/ 1037063 h 1728439"/>
              <a:gd name="connsiteX79" fmla="*/ 6088565 w 7170234"/>
              <a:gd name="connsiteY79" fmla="*/ 1081668 h 1728439"/>
              <a:gd name="connsiteX80" fmla="*/ 6133170 w 7170234"/>
              <a:gd name="connsiteY80" fmla="*/ 1092819 h 1728439"/>
              <a:gd name="connsiteX81" fmla="*/ 6166624 w 7170234"/>
              <a:gd name="connsiteY81" fmla="*/ 1103971 h 1728439"/>
              <a:gd name="connsiteX82" fmla="*/ 6211229 w 7170234"/>
              <a:gd name="connsiteY82" fmla="*/ 1126273 h 1728439"/>
              <a:gd name="connsiteX83" fmla="*/ 6289287 w 7170234"/>
              <a:gd name="connsiteY83" fmla="*/ 1148576 h 1728439"/>
              <a:gd name="connsiteX84" fmla="*/ 6322741 w 7170234"/>
              <a:gd name="connsiteY84" fmla="*/ 1170878 h 1728439"/>
              <a:gd name="connsiteX85" fmla="*/ 6411951 w 7170234"/>
              <a:gd name="connsiteY85" fmla="*/ 1193180 h 1728439"/>
              <a:gd name="connsiteX86" fmla="*/ 6478858 w 7170234"/>
              <a:gd name="connsiteY86" fmla="*/ 1215483 h 1728439"/>
              <a:gd name="connsiteX87" fmla="*/ 6523463 w 7170234"/>
              <a:gd name="connsiteY87" fmla="*/ 1226634 h 1728439"/>
              <a:gd name="connsiteX88" fmla="*/ 6612673 w 7170234"/>
              <a:gd name="connsiteY88" fmla="*/ 1260088 h 1728439"/>
              <a:gd name="connsiteX89" fmla="*/ 6679580 w 7170234"/>
              <a:gd name="connsiteY89" fmla="*/ 1293541 h 1728439"/>
              <a:gd name="connsiteX90" fmla="*/ 6779941 w 7170234"/>
              <a:gd name="connsiteY90" fmla="*/ 1315844 h 1728439"/>
              <a:gd name="connsiteX91" fmla="*/ 6858000 w 7170234"/>
              <a:gd name="connsiteY91" fmla="*/ 1349297 h 1728439"/>
              <a:gd name="connsiteX92" fmla="*/ 6924907 w 7170234"/>
              <a:gd name="connsiteY92" fmla="*/ 1360449 h 1728439"/>
              <a:gd name="connsiteX93" fmla="*/ 7170234 w 7170234"/>
              <a:gd name="connsiteY93" fmla="*/ 1371600 h 17284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</a:cxnLst>
            <a:rect l="l" t="t" r="r" b="b"/>
            <a:pathLst>
              <a:path w="7170234" h="1728439">
                <a:moveTo>
                  <a:pt x="0" y="1728439"/>
                </a:moveTo>
                <a:cubicBezTo>
                  <a:pt x="22302" y="1698702"/>
                  <a:pt x="45044" y="1669290"/>
                  <a:pt x="66907" y="1639229"/>
                </a:cubicBezTo>
                <a:cubicBezTo>
                  <a:pt x="74790" y="1628390"/>
                  <a:pt x="80305" y="1615793"/>
                  <a:pt x="89209" y="1605776"/>
                </a:cubicBezTo>
                <a:cubicBezTo>
                  <a:pt x="110164" y="1582202"/>
                  <a:pt x="133814" y="1561171"/>
                  <a:pt x="156117" y="1538868"/>
                </a:cubicBezTo>
                <a:cubicBezTo>
                  <a:pt x="167268" y="1527717"/>
                  <a:pt x="180108" y="1518031"/>
                  <a:pt x="189570" y="1505415"/>
                </a:cubicBezTo>
                <a:cubicBezTo>
                  <a:pt x="273929" y="1392938"/>
                  <a:pt x="166564" y="1531709"/>
                  <a:pt x="267629" y="1416205"/>
                </a:cubicBezTo>
                <a:cubicBezTo>
                  <a:pt x="279867" y="1402218"/>
                  <a:pt x="287940" y="1384742"/>
                  <a:pt x="301082" y="1371600"/>
                </a:cubicBezTo>
                <a:cubicBezTo>
                  <a:pt x="310559" y="1362123"/>
                  <a:pt x="324071" y="1357669"/>
                  <a:pt x="334536" y="1349297"/>
                </a:cubicBezTo>
                <a:cubicBezTo>
                  <a:pt x="342746" y="1342729"/>
                  <a:pt x="348428" y="1333303"/>
                  <a:pt x="356839" y="1326995"/>
                </a:cubicBezTo>
                <a:cubicBezTo>
                  <a:pt x="411694" y="1285854"/>
                  <a:pt x="449854" y="1276680"/>
                  <a:pt x="490653" y="1215483"/>
                </a:cubicBezTo>
                <a:cubicBezTo>
                  <a:pt x="498087" y="1204332"/>
                  <a:pt x="504052" y="1192046"/>
                  <a:pt x="512956" y="1182029"/>
                </a:cubicBezTo>
                <a:cubicBezTo>
                  <a:pt x="533910" y="1158456"/>
                  <a:pt x="562368" y="1141365"/>
                  <a:pt x="579863" y="1115122"/>
                </a:cubicBezTo>
                <a:cubicBezTo>
                  <a:pt x="619661" y="1055423"/>
                  <a:pt x="592686" y="1091148"/>
                  <a:pt x="669073" y="1014761"/>
                </a:cubicBezTo>
                <a:cubicBezTo>
                  <a:pt x="680224" y="1003610"/>
                  <a:pt x="689404" y="990055"/>
                  <a:pt x="702526" y="981307"/>
                </a:cubicBezTo>
                <a:cubicBezTo>
                  <a:pt x="713677" y="973873"/>
                  <a:pt x="725804" y="967727"/>
                  <a:pt x="735980" y="959005"/>
                </a:cubicBezTo>
                <a:cubicBezTo>
                  <a:pt x="751945" y="945321"/>
                  <a:pt x="764166" y="927535"/>
                  <a:pt x="780585" y="914400"/>
                </a:cubicBezTo>
                <a:cubicBezTo>
                  <a:pt x="799170" y="899532"/>
                  <a:pt x="817300" y="884075"/>
                  <a:pt x="836341" y="869795"/>
                </a:cubicBezTo>
                <a:cubicBezTo>
                  <a:pt x="847063" y="861754"/>
                  <a:pt x="859330" y="855865"/>
                  <a:pt x="869795" y="847493"/>
                </a:cubicBezTo>
                <a:cubicBezTo>
                  <a:pt x="878005" y="840925"/>
                  <a:pt x="883349" y="831022"/>
                  <a:pt x="892097" y="825190"/>
                </a:cubicBezTo>
                <a:cubicBezTo>
                  <a:pt x="905928" y="815969"/>
                  <a:pt x="921834" y="810322"/>
                  <a:pt x="936702" y="802888"/>
                </a:cubicBezTo>
                <a:cubicBezTo>
                  <a:pt x="947853" y="788020"/>
                  <a:pt x="956169" y="770522"/>
                  <a:pt x="970156" y="758283"/>
                </a:cubicBezTo>
                <a:cubicBezTo>
                  <a:pt x="1002568" y="729923"/>
                  <a:pt x="1023476" y="725641"/>
                  <a:pt x="1059365" y="713678"/>
                </a:cubicBezTo>
                <a:cubicBezTo>
                  <a:pt x="1089102" y="691376"/>
                  <a:pt x="1122291" y="673055"/>
                  <a:pt x="1148575" y="646771"/>
                </a:cubicBezTo>
                <a:cubicBezTo>
                  <a:pt x="1159726" y="635620"/>
                  <a:pt x="1168907" y="622065"/>
                  <a:pt x="1182029" y="613317"/>
                </a:cubicBezTo>
                <a:cubicBezTo>
                  <a:pt x="1191809" y="606797"/>
                  <a:pt x="1204331" y="605883"/>
                  <a:pt x="1215482" y="602166"/>
                </a:cubicBezTo>
                <a:cubicBezTo>
                  <a:pt x="1245892" y="571756"/>
                  <a:pt x="1255395" y="559099"/>
                  <a:pt x="1293541" y="535258"/>
                </a:cubicBezTo>
                <a:cubicBezTo>
                  <a:pt x="1307637" y="526448"/>
                  <a:pt x="1323278" y="520390"/>
                  <a:pt x="1338146" y="512956"/>
                </a:cubicBezTo>
                <a:cubicBezTo>
                  <a:pt x="1349297" y="501805"/>
                  <a:pt x="1357908" y="487326"/>
                  <a:pt x="1371600" y="479502"/>
                </a:cubicBezTo>
                <a:cubicBezTo>
                  <a:pt x="1384906" y="471898"/>
                  <a:pt x="1401468" y="472561"/>
                  <a:pt x="1416204" y="468351"/>
                </a:cubicBezTo>
                <a:cubicBezTo>
                  <a:pt x="1427506" y="465122"/>
                  <a:pt x="1439144" y="462457"/>
                  <a:pt x="1449658" y="457200"/>
                </a:cubicBezTo>
                <a:cubicBezTo>
                  <a:pt x="1469044" y="447507"/>
                  <a:pt x="1486028" y="433439"/>
                  <a:pt x="1505414" y="423746"/>
                </a:cubicBezTo>
                <a:cubicBezTo>
                  <a:pt x="1528273" y="412317"/>
                  <a:pt x="1573419" y="405685"/>
                  <a:pt x="1594624" y="401444"/>
                </a:cubicBezTo>
                <a:cubicBezTo>
                  <a:pt x="1613209" y="394010"/>
                  <a:pt x="1631637" y="386170"/>
                  <a:pt x="1650380" y="379141"/>
                </a:cubicBezTo>
                <a:cubicBezTo>
                  <a:pt x="1704516" y="358840"/>
                  <a:pt x="1704033" y="369392"/>
                  <a:pt x="1773043" y="323385"/>
                </a:cubicBezTo>
                <a:cubicBezTo>
                  <a:pt x="1795346" y="308517"/>
                  <a:pt x="1814522" y="287256"/>
                  <a:pt x="1839951" y="278780"/>
                </a:cubicBezTo>
                <a:cubicBezTo>
                  <a:pt x="1851102" y="275063"/>
                  <a:pt x="1863129" y="273337"/>
                  <a:pt x="1873404" y="267629"/>
                </a:cubicBezTo>
                <a:cubicBezTo>
                  <a:pt x="1896835" y="254612"/>
                  <a:pt x="1915425" y="232979"/>
                  <a:pt x="1940312" y="223024"/>
                </a:cubicBezTo>
                <a:cubicBezTo>
                  <a:pt x="1997820" y="200021"/>
                  <a:pt x="2008419" y="193582"/>
                  <a:pt x="2074126" y="178419"/>
                </a:cubicBezTo>
                <a:cubicBezTo>
                  <a:pt x="2096157" y="173335"/>
                  <a:pt x="2118731" y="170985"/>
                  <a:pt x="2141034" y="167268"/>
                </a:cubicBezTo>
                <a:cubicBezTo>
                  <a:pt x="2220536" y="127518"/>
                  <a:pt x="2151177" y="156320"/>
                  <a:pt x="2263697" y="133815"/>
                </a:cubicBezTo>
                <a:cubicBezTo>
                  <a:pt x="2275223" y="131510"/>
                  <a:pt x="2285849" y="125892"/>
                  <a:pt x="2297151" y="122663"/>
                </a:cubicBezTo>
                <a:cubicBezTo>
                  <a:pt x="2311887" y="118453"/>
                  <a:pt x="2326888" y="115229"/>
                  <a:pt x="2341756" y="111512"/>
                </a:cubicBezTo>
                <a:cubicBezTo>
                  <a:pt x="2492633" y="36073"/>
                  <a:pt x="2305468" y="123608"/>
                  <a:pt x="2542478" y="44605"/>
                </a:cubicBezTo>
                <a:cubicBezTo>
                  <a:pt x="2618944" y="19116"/>
                  <a:pt x="2524040" y="49214"/>
                  <a:pt x="2631687" y="22302"/>
                </a:cubicBezTo>
                <a:cubicBezTo>
                  <a:pt x="2643091" y="19451"/>
                  <a:pt x="2653490" y="12704"/>
                  <a:pt x="2665141" y="11151"/>
                </a:cubicBezTo>
                <a:cubicBezTo>
                  <a:pt x="2709508" y="5236"/>
                  <a:pt x="2754351" y="3717"/>
                  <a:pt x="2798956" y="0"/>
                </a:cubicBezTo>
                <a:lnTo>
                  <a:pt x="3490331" y="11151"/>
                </a:lnTo>
                <a:cubicBezTo>
                  <a:pt x="3512932" y="11816"/>
                  <a:pt x="3534784" y="19660"/>
                  <a:pt x="3557239" y="22302"/>
                </a:cubicBezTo>
                <a:cubicBezTo>
                  <a:pt x="3598014" y="27099"/>
                  <a:pt x="3639014" y="29737"/>
                  <a:pt x="3679902" y="33454"/>
                </a:cubicBezTo>
                <a:cubicBezTo>
                  <a:pt x="3694770" y="37171"/>
                  <a:pt x="3709479" y="41599"/>
                  <a:pt x="3724507" y="44605"/>
                </a:cubicBezTo>
                <a:cubicBezTo>
                  <a:pt x="3825774" y="64858"/>
                  <a:pt x="3835917" y="65299"/>
                  <a:pt x="3925229" y="78058"/>
                </a:cubicBezTo>
                <a:cubicBezTo>
                  <a:pt x="4055308" y="121419"/>
                  <a:pt x="3926366" y="79514"/>
                  <a:pt x="4070195" y="122663"/>
                </a:cubicBezTo>
                <a:cubicBezTo>
                  <a:pt x="4081454" y="126041"/>
                  <a:pt x="4092245" y="130964"/>
                  <a:pt x="4103648" y="133815"/>
                </a:cubicBezTo>
                <a:cubicBezTo>
                  <a:pt x="4122035" y="138412"/>
                  <a:pt x="4140819" y="141249"/>
                  <a:pt x="4159404" y="144966"/>
                </a:cubicBezTo>
                <a:cubicBezTo>
                  <a:pt x="4166838" y="156117"/>
                  <a:pt x="4170556" y="170985"/>
                  <a:pt x="4181707" y="178419"/>
                </a:cubicBezTo>
                <a:cubicBezTo>
                  <a:pt x="4194459" y="186920"/>
                  <a:pt x="4211772" y="184724"/>
                  <a:pt x="4226312" y="189571"/>
                </a:cubicBezTo>
                <a:cubicBezTo>
                  <a:pt x="4256441" y="199614"/>
                  <a:pt x="4285785" y="211873"/>
                  <a:pt x="4315522" y="223024"/>
                </a:cubicBezTo>
                <a:cubicBezTo>
                  <a:pt x="4341940" y="249444"/>
                  <a:pt x="4366902" y="277323"/>
                  <a:pt x="4404731" y="289932"/>
                </a:cubicBezTo>
                <a:lnTo>
                  <a:pt x="4438185" y="301083"/>
                </a:lnTo>
                <a:cubicBezTo>
                  <a:pt x="4453053" y="312234"/>
                  <a:pt x="4466167" y="326225"/>
                  <a:pt x="4482790" y="334537"/>
                </a:cubicBezTo>
                <a:cubicBezTo>
                  <a:pt x="4494806" y="340545"/>
                  <a:pt x="4575409" y="354728"/>
                  <a:pt x="4583151" y="356839"/>
                </a:cubicBezTo>
                <a:cubicBezTo>
                  <a:pt x="4646697" y="374170"/>
                  <a:pt x="4772722" y="412595"/>
                  <a:pt x="4772722" y="412595"/>
                </a:cubicBezTo>
                <a:cubicBezTo>
                  <a:pt x="4791307" y="423746"/>
                  <a:pt x="4810192" y="434413"/>
                  <a:pt x="4828478" y="446049"/>
                </a:cubicBezTo>
                <a:cubicBezTo>
                  <a:pt x="4851092" y="460440"/>
                  <a:pt x="4869956" y="482178"/>
                  <a:pt x="4895385" y="490654"/>
                </a:cubicBezTo>
                <a:cubicBezTo>
                  <a:pt x="4970818" y="515798"/>
                  <a:pt x="4879268" y="482594"/>
                  <a:pt x="4984595" y="535258"/>
                </a:cubicBezTo>
                <a:cubicBezTo>
                  <a:pt x="5028014" y="556968"/>
                  <a:pt x="5012607" y="536113"/>
                  <a:pt x="5062653" y="557561"/>
                </a:cubicBezTo>
                <a:cubicBezTo>
                  <a:pt x="5100851" y="573931"/>
                  <a:pt x="5136994" y="594732"/>
                  <a:pt x="5174165" y="613317"/>
                </a:cubicBezTo>
                <a:lnTo>
                  <a:pt x="5352585" y="702527"/>
                </a:lnTo>
                <a:cubicBezTo>
                  <a:pt x="5374887" y="713678"/>
                  <a:pt x="5395837" y="728095"/>
                  <a:pt x="5419492" y="735980"/>
                </a:cubicBezTo>
                <a:cubicBezTo>
                  <a:pt x="5430643" y="739697"/>
                  <a:pt x="5442142" y="742502"/>
                  <a:pt x="5452946" y="747132"/>
                </a:cubicBezTo>
                <a:cubicBezTo>
                  <a:pt x="5549395" y="788467"/>
                  <a:pt x="5452556" y="754436"/>
                  <a:pt x="5531004" y="780585"/>
                </a:cubicBezTo>
                <a:cubicBezTo>
                  <a:pt x="5570997" y="820578"/>
                  <a:pt x="5549909" y="805012"/>
                  <a:pt x="5631365" y="836341"/>
                </a:cubicBezTo>
                <a:cubicBezTo>
                  <a:pt x="5653307" y="844780"/>
                  <a:pt x="5675970" y="851210"/>
                  <a:pt x="5698273" y="858644"/>
                </a:cubicBezTo>
                <a:lnTo>
                  <a:pt x="5731726" y="869795"/>
                </a:lnTo>
                <a:cubicBezTo>
                  <a:pt x="5742877" y="880946"/>
                  <a:pt x="5752058" y="894501"/>
                  <a:pt x="5765180" y="903249"/>
                </a:cubicBezTo>
                <a:cubicBezTo>
                  <a:pt x="5774960" y="909769"/>
                  <a:pt x="5787830" y="909770"/>
                  <a:pt x="5798634" y="914400"/>
                </a:cubicBezTo>
                <a:cubicBezTo>
                  <a:pt x="5895109" y="955745"/>
                  <a:pt x="5798226" y="921696"/>
                  <a:pt x="5876692" y="947854"/>
                </a:cubicBezTo>
                <a:cubicBezTo>
                  <a:pt x="5908056" y="979216"/>
                  <a:pt x="5915470" y="989545"/>
                  <a:pt x="5965902" y="1014761"/>
                </a:cubicBezTo>
                <a:cubicBezTo>
                  <a:pt x="5980770" y="1022195"/>
                  <a:pt x="5995914" y="1029103"/>
                  <a:pt x="6010507" y="1037063"/>
                </a:cubicBezTo>
                <a:cubicBezTo>
                  <a:pt x="6036816" y="1051413"/>
                  <a:pt x="6061283" y="1069267"/>
                  <a:pt x="6088565" y="1081668"/>
                </a:cubicBezTo>
                <a:cubicBezTo>
                  <a:pt x="6102517" y="1088010"/>
                  <a:pt x="6118434" y="1088609"/>
                  <a:pt x="6133170" y="1092819"/>
                </a:cubicBezTo>
                <a:cubicBezTo>
                  <a:pt x="6144472" y="1096048"/>
                  <a:pt x="6155820" y="1099341"/>
                  <a:pt x="6166624" y="1103971"/>
                </a:cubicBezTo>
                <a:cubicBezTo>
                  <a:pt x="6181903" y="1110519"/>
                  <a:pt x="6195664" y="1120436"/>
                  <a:pt x="6211229" y="1126273"/>
                </a:cubicBezTo>
                <a:cubicBezTo>
                  <a:pt x="6239826" y="1136997"/>
                  <a:pt x="6262318" y="1135091"/>
                  <a:pt x="6289287" y="1148576"/>
                </a:cubicBezTo>
                <a:cubicBezTo>
                  <a:pt x="6301274" y="1154570"/>
                  <a:pt x="6310754" y="1164885"/>
                  <a:pt x="6322741" y="1170878"/>
                </a:cubicBezTo>
                <a:cubicBezTo>
                  <a:pt x="6349810" y="1184412"/>
                  <a:pt x="6383957" y="1185545"/>
                  <a:pt x="6411951" y="1193180"/>
                </a:cubicBezTo>
                <a:cubicBezTo>
                  <a:pt x="6434631" y="1199366"/>
                  <a:pt x="6456051" y="1209781"/>
                  <a:pt x="6478858" y="1215483"/>
                </a:cubicBezTo>
                <a:cubicBezTo>
                  <a:pt x="6493726" y="1219200"/>
                  <a:pt x="6508727" y="1222424"/>
                  <a:pt x="6523463" y="1226634"/>
                </a:cubicBezTo>
                <a:cubicBezTo>
                  <a:pt x="6548471" y="1233779"/>
                  <a:pt x="6592725" y="1251021"/>
                  <a:pt x="6612673" y="1260088"/>
                </a:cubicBezTo>
                <a:cubicBezTo>
                  <a:pt x="6635373" y="1270406"/>
                  <a:pt x="6656794" y="1283414"/>
                  <a:pt x="6679580" y="1293541"/>
                </a:cubicBezTo>
                <a:cubicBezTo>
                  <a:pt x="6712526" y="1308184"/>
                  <a:pt x="6743674" y="1309800"/>
                  <a:pt x="6779941" y="1315844"/>
                </a:cubicBezTo>
                <a:cubicBezTo>
                  <a:pt x="6805961" y="1326995"/>
                  <a:pt x="6830943" y="1340972"/>
                  <a:pt x="6858000" y="1349297"/>
                </a:cubicBezTo>
                <a:cubicBezTo>
                  <a:pt x="6879610" y="1355946"/>
                  <a:pt x="6902662" y="1356404"/>
                  <a:pt x="6924907" y="1360449"/>
                </a:cubicBezTo>
                <a:cubicBezTo>
                  <a:pt x="7054392" y="1383992"/>
                  <a:pt x="6922482" y="1371600"/>
                  <a:pt x="7170234" y="1371600"/>
                </a:cubicBezTo>
              </a:path>
            </a:pathLst>
          </a:custGeom>
          <a:noFill/>
          <a:ln w="349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D517F87-D11D-AD4E-B028-939645C1B974}"/>
              </a:ext>
            </a:extLst>
          </p:cNvPr>
          <p:cNvCxnSpPr>
            <a:cxnSpLocks/>
          </p:cNvCxnSpPr>
          <p:nvPr/>
        </p:nvCxnSpPr>
        <p:spPr>
          <a:xfrm flipV="1">
            <a:off x="1773936" y="5278933"/>
            <a:ext cx="8750708" cy="32134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Oval 11">
            <a:extLst>
              <a:ext uri="{FF2B5EF4-FFF2-40B4-BE49-F238E27FC236}">
                <a16:creationId xmlns:a16="http://schemas.microsoft.com/office/drawing/2014/main" id="{B1F9A3B7-CE04-0A42-A49A-2A7781A267BB}"/>
              </a:ext>
            </a:extLst>
          </p:cNvPr>
          <p:cNvSpPr/>
          <p:nvPr/>
        </p:nvSpPr>
        <p:spPr>
          <a:xfrm>
            <a:off x="4489950" y="4162474"/>
            <a:ext cx="460917" cy="460917"/>
          </a:xfrm>
          <a:prstGeom prst="ellipse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E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66B3C83E-DB3C-F94B-8D43-2F414E9D1FC1}"/>
              </a:ext>
            </a:extLst>
          </p:cNvPr>
          <p:cNvSpPr/>
          <p:nvPr/>
        </p:nvSpPr>
        <p:spPr>
          <a:xfrm>
            <a:off x="7248390" y="5049643"/>
            <a:ext cx="460917" cy="460917"/>
          </a:xfrm>
          <a:prstGeom prst="ellipse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E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ED20C55-1C2B-D248-BF66-CAC83B39620E}"/>
              </a:ext>
            </a:extLst>
          </p:cNvPr>
          <p:cNvSpPr txBox="1"/>
          <p:nvPr/>
        </p:nvSpPr>
        <p:spPr>
          <a:xfrm>
            <a:off x="4836427" y="3875839"/>
            <a:ext cx="11336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D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 months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0B9159D-D95A-684B-9D1A-920F4B61A4BC}"/>
              </a:ext>
            </a:extLst>
          </p:cNvPr>
          <p:cNvSpPr txBox="1"/>
          <p:nvPr/>
        </p:nvSpPr>
        <p:spPr>
          <a:xfrm>
            <a:off x="7586147" y="4763308"/>
            <a:ext cx="11336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D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6 months</a:t>
            </a:r>
          </a:p>
        </p:txBody>
      </p:sp>
    </p:spTree>
    <p:extLst>
      <p:ext uri="{BB962C8B-B14F-4D97-AF65-F5344CB8AC3E}">
        <p14:creationId xmlns:p14="http://schemas.microsoft.com/office/powerpoint/2010/main" val="23146672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4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4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4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4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4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4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2" presetClass="entr" presetSubtype="8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2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22" presetClass="entr" presetSubtype="8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2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2" presetClass="entr" presetSubtype="8" fill="hold" grpId="0" nodeType="withEffect">
                                  <p:stCondLst>
                                    <p:cond delay="2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25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22" presetClass="entr" presetSubtype="8" fill="hold" grpId="0" nodeType="withEffect">
                                  <p:stCondLst>
                                    <p:cond delay="275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25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17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  <p:bldP spid="19" grpId="0"/>
      <p:bldP spid="9" grpId="0" animBg="1"/>
      <p:bldP spid="12" grpId="0" animBg="1"/>
      <p:bldP spid="24" grpId="0" animBg="1"/>
      <p:bldP spid="16" grpId="0"/>
      <p:bldP spid="25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9F8D0BC-92D2-4D97-868B-FA64394A668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2DF8719-EAF0-48BA-A822-2E862C0384B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High test coverage is not the goal of TDD</a:t>
            </a:r>
            <a:br>
              <a:rPr lang="en-US" dirty="0"/>
            </a:br>
            <a:r>
              <a:rPr lang="en-US" dirty="0"/>
              <a:t>(No tests for methods we are convinced cannot fail, such as getters/setter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Main goal is to discover a good design</a:t>
            </a:r>
          </a:p>
          <a:p>
            <a:pPr marL="465138" lvl="1" indent="-285750">
              <a:buFont typeface="Arial" panose="020B0604020202020204" pitchFamily="34" charset="0"/>
              <a:buChar char="•"/>
            </a:pPr>
            <a:r>
              <a:rPr lang="en-US" dirty="0"/>
              <a:t>By writing tests first we can design the interface of our class so that tests are easy to write</a:t>
            </a:r>
          </a:p>
          <a:p>
            <a:pPr marL="465138" lvl="1" indent="-285750">
              <a:buFont typeface="Arial" panose="020B0604020202020204" pitchFamily="34" charset="0"/>
              <a:buChar char="•"/>
            </a:pPr>
            <a:r>
              <a:rPr lang="en-US" dirty="0"/>
              <a:t>This makes production code easy to write</a:t>
            </a:r>
          </a:p>
          <a:p>
            <a:pPr marL="465138" lvl="1" indent="-285750">
              <a:buFont typeface="Arial" panose="020B0604020202020204" pitchFamily="34" charset="0"/>
              <a:buChar char="•"/>
            </a:pPr>
            <a:r>
              <a:rPr lang="en-US" dirty="0"/>
              <a:t>Since we have tests, we can refactor without danger of introducing erro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DE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F4FA5042-F12C-4AB2-8F56-D38E6068D6BE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947738" y="1946275"/>
            <a:ext cx="10261600" cy="385763"/>
          </a:xfrm>
        </p:spPr>
        <p:txBody>
          <a:bodyPr/>
          <a:lstStyle/>
          <a:p>
            <a:r>
              <a:rPr lang="en-US" dirty="0">
                <a:solidFill>
                  <a:schemeClr val="tx2"/>
                </a:solidFill>
              </a:rPr>
              <a:t>Test-Driven Development</a:t>
            </a:r>
            <a:endParaRPr lang="en-DE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338608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0CC347D-3117-4626-A3E7-63C9E91BAB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TDD Cycle</a:t>
            </a:r>
            <a:endParaRPr lang="en-DE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588A674-8DDF-4639-B6F3-2B4D5A6D812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DB3D34E-BB98-41D6-A4D6-B2F146B0956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3802232" cy="3095625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Write a (minimal) tes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mplement the minimal functionality to get the test work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mprove the code</a:t>
            </a:r>
          </a:p>
        </p:txBody>
      </p:sp>
    </p:spTree>
    <p:extLst>
      <p:ext uri="{BB962C8B-B14F-4D97-AF65-F5344CB8AC3E}">
        <p14:creationId xmlns:p14="http://schemas.microsoft.com/office/powerpoint/2010/main" val="417401109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0CC347D-3117-4626-A3E7-63C9E91BAB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TDD Cycle</a:t>
            </a:r>
            <a:endParaRPr lang="en-DE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588A674-8DDF-4639-B6F3-2B4D5A6D812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18"/>
                <a:cs typeface="Arial" pitchFamily="18"/>
              </a:rPr>
              <a:t>© Coding Akademie München GmbH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18"/>
              <a:cs typeface="Arial" pitchFamily="18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DB3D34E-BB98-41D6-A4D6-B2F146B0956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3802232" cy="3095625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Write a (minimal) tes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mplement the minimal functionality to get the test work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mprove the code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93EBF262-651F-45C6-A17B-C02731739E9E}"/>
              </a:ext>
            </a:extLst>
          </p:cNvPr>
          <p:cNvSpPr txBox="1">
            <a:spLocks/>
          </p:cNvSpPr>
          <p:nvPr/>
        </p:nvSpPr>
        <p:spPr>
          <a:xfrm>
            <a:off x="5542504" y="3033713"/>
            <a:ext cx="5884428" cy="3095625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eaLnBrk="1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  <a:lvl2pPr marL="1793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marR="0" lvl="0" indent="-285750" algn="l" defTabSz="7207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18"/>
                <a:ea typeface="+mn-ea"/>
                <a:cs typeface="Arial" pitchFamily="18"/>
              </a:rPr>
              <a:t>Test only a single feature: </a:t>
            </a: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18"/>
                <a:ea typeface="+mn-ea"/>
                <a:cs typeface="Arial" pitchFamily="18"/>
              </a:rPr>
              <a:t>Baby Steps</a:t>
            </a:r>
          </a:p>
          <a:p>
            <a:pPr marL="285750" marR="0" lvl="0" indent="-285750" algn="l" defTabSz="7207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18"/>
                <a:ea typeface="+mn-ea"/>
                <a:cs typeface="Arial" pitchFamily="18"/>
              </a:rPr>
              <a:t>This test is </a:t>
            </a: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18"/>
                <a:ea typeface="+mn-ea"/>
                <a:cs typeface="Arial" pitchFamily="18"/>
              </a:rPr>
              <a:t>supposed to fail</a:t>
            </a:r>
          </a:p>
        </p:txBody>
      </p:sp>
    </p:spTree>
    <p:extLst>
      <p:ext uri="{BB962C8B-B14F-4D97-AF65-F5344CB8AC3E}">
        <p14:creationId xmlns:p14="http://schemas.microsoft.com/office/powerpoint/2010/main" val="1488727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wo_biZO4OxAPGBWTiQk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gVXNswkVG7ghES5Rv7h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simOOptQvFZSax.VA1v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GaXEb3Bq7EY44E4sLqt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bBgKMiyObC0eV21ZoY5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XhOlRdi0YuEdKJQWmPP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o.pqi8yBIaqlRj7k9_Z0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Ujb.5rRWwlzK2KEt8D0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Pscs3c2_edoADRKSLjq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uewKKuIuUV3QNpO.HzT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Ddb1h66l4dkN2nzgUFa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9N0reOf37TVOJpBFTSlJ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GaXEb3Bq7EY44E4sLqt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wo_biZO4OxAPGBWTiQk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gVXNswkVG7ghES5Rv7h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uewKKuIuUV3QNpO.HzT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simOOptQvFZSax.VA1v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XhOlRdi0YuEdKJQWmPP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bBgKMiyObC0eV21ZoY5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o.pqi8yBIaqlRj7k9_Z0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Ujb.5rRWwlzK2KEt8D0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Pscs3c2_edoADRKSLjq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bBgKMiyObC0eV21ZoY5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Ddb1h66l4dkN2nzgUFa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9N0reOf37TVOJpBFTSlJ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019 @ CAM Master">
  <a:themeElements>
    <a:clrScheme name="Custom 68">
      <a:dk1>
        <a:srgbClr val="000000"/>
      </a:dk1>
      <a:lt1>
        <a:sysClr val="window" lastClr="FFFFFF"/>
      </a:lt1>
      <a:dk2>
        <a:srgbClr val="E4E3DF"/>
      </a:dk2>
      <a:lt2>
        <a:srgbClr val="D9CED1"/>
      </a:lt2>
      <a:accent1>
        <a:srgbClr val="D9CED1"/>
      </a:accent1>
      <a:accent2>
        <a:srgbClr val="4B323E"/>
      </a:accent2>
      <a:accent3>
        <a:srgbClr val="E4E3DF"/>
      </a:accent3>
      <a:accent4>
        <a:srgbClr val="A08570"/>
      </a:accent4>
      <a:accent5>
        <a:srgbClr val="3C3C3C"/>
      </a:accent5>
      <a:accent6>
        <a:srgbClr val="FF7A7D"/>
      </a:accent6>
      <a:hlink>
        <a:srgbClr val="000000"/>
      </a:hlink>
      <a:folHlink>
        <a:srgbClr val="000000"/>
      </a:folHlink>
    </a:clrScheme>
    <a:fontScheme name="PTW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 w="12700">
          <a:solidFill>
            <a:schemeClr val="tx1"/>
          </a:solidFill>
        </a:ln>
      </a:spPr>
      <a:bodyPr rtlCol="0" anchor="ctr"/>
      <a:lstStyle>
        <a:defPPr algn="ctr">
          <a:defRPr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marL="285750" indent="-285750" algn="l">
          <a:buFont typeface="Symbol" panose="05050102010706020507" pitchFamily="18" charset="2"/>
          <a:buChar char="·"/>
          <a:defRPr dirty="0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A_Template_v1.pptx" id="{348D2975-4D34-46E1-A50F-B62AF8819153}" vid="{DB4CBCF0-F9BC-475C-96D4-329A2791B7C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2019 @ CAM Master">
  <a:themeElements>
    <a:clrScheme name="Custom 68">
      <a:dk1>
        <a:srgbClr val="000000"/>
      </a:dk1>
      <a:lt1>
        <a:sysClr val="window" lastClr="FFFFFF"/>
      </a:lt1>
      <a:dk2>
        <a:srgbClr val="E4E3DF"/>
      </a:dk2>
      <a:lt2>
        <a:srgbClr val="D9CED1"/>
      </a:lt2>
      <a:accent1>
        <a:srgbClr val="D9CED1"/>
      </a:accent1>
      <a:accent2>
        <a:srgbClr val="4B323E"/>
      </a:accent2>
      <a:accent3>
        <a:srgbClr val="E4E3DF"/>
      </a:accent3>
      <a:accent4>
        <a:srgbClr val="A08570"/>
      </a:accent4>
      <a:accent5>
        <a:srgbClr val="3C3C3C"/>
      </a:accent5>
      <a:accent6>
        <a:srgbClr val="FF7A7D"/>
      </a:accent6>
      <a:hlink>
        <a:srgbClr val="000000"/>
      </a:hlink>
      <a:folHlink>
        <a:srgbClr val="000000"/>
      </a:folHlink>
    </a:clrScheme>
    <a:fontScheme name="PTW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 w="12700">
          <a:solidFill>
            <a:schemeClr val="tx1"/>
          </a:solidFill>
        </a:ln>
      </a:spPr>
      <a:bodyPr rtlCol="0" anchor="ctr"/>
      <a:lstStyle>
        <a:defPPr algn="ctr">
          <a:defRPr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marL="285750" indent="-285750" algn="l">
          <a:buFont typeface="Symbol" panose="05050102010706020507" pitchFamily="18" charset="2"/>
          <a:buChar char="·"/>
          <a:defRPr dirty="0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A_Template_v1</Template>
  <TotalTime>791</TotalTime>
  <Words>1314</Words>
  <Application>Microsoft Office PowerPoint</Application>
  <PresentationFormat>Custom</PresentationFormat>
  <Paragraphs>203</Paragraphs>
  <Slides>36</Slides>
  <Notes>9</Notes>
  <HiddenSlides>1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36</vt:i4>
      </vt:variant>
    </vt:vector>
  </HeadingPairs>
  <TitlesOfParts>
    <vt:vector size="47" baseType="lpstr">
      <vt:lpstr>Arial</vt:lpstr>
      <vt:lpstr>Calibri</vt:lpstr>
      <vt:lpstr>Calibri Light</vt:lpstr>
      <vt:lpstr>Consolas</vt:lpstr>
      <vt:lpstr>Symbol</vt:lpstr>
      <vt:lpstr>Times New Roman</vt:lpstr>
      <vt:lpstr>2019 @ CAM Master</vt:lpstr>
      <vt:lpstr>Office Theme</vt:lpstr>
      <vt:lpstr>1_2019 @ CAM Master</vt:lpstr>
      <vt:lpstr>think-cell Folie</vt:lpstr>
      <vt:lpstr>think-cell Slide</vt:lpstr>
      <vt:lpstr>PowerPoint Presentation</vt:lpstr>
      <vt:lpstr>Main Idea behind TDD</vt:lpstr>
      <vt:lpstr>Problem</vt:lpstr>
      <vt:lpstr>PowerPoint Presentation</vt:lpstr>
      <vt:lpstr>Refactoring</vt:lpstr>
      <vt:lpstr>PowerPoint Presentation</vt:lpstr>
      <vt:lpstr>Test-Driven Development</vt:lpstr>
      <vt:lpstr>The TDD Cycle</vt:lpstr>
      <vt:lpstr>The TDD Cycle</vt:lpstr>
      <vt:lpstr>The TDD Cycle</vt:lpstr>
      <vt:lpstr>The TDD Cycle</vt:lpstr>
      <vt:lpstr>The TDD Cycle</vt:lpstr>
      <vt:lpstr>The TDD Cycle</vt:lpstr>
      <vt:lpstr>Why Solve Simply?</vt:lpstr>
      <vt:lpstr>Assumptions Made By Solve Simply</vt:lpstr>
      <vt:lpstr>Baby Steps</vt:lpstr>
      <vt:lpstr>Even Better: TDD Cycle + Preparation</vt:lpstr>
      <vt:lpstr>Guided Kata: Prime Factorization</vt:lpstr>
      <vt:lpstr>Guided Kata: Prime Factorization</vt:lpstr>
      <vt:lpstr>Guided Kata: Prime Factorization</vt:lpstr>
      <vt:lpstr>Kata: FizzBuzz</vt:lpstr>
      <vt:lpstr>Recap: Effective Unit Testing</vt:lpstr>
      <vt:lpstr>Real-World Problems</vt:lpstr>
      <vt:lpstr>PowerPoint Presentation</vt:lpstr>
      <vt:lpstr>Reasons: Code</vt:lpstr>
      <vt:lpstr>PowerPoint Presentation</vt:lpstr>
      <vt:lpstr>PowerPoint Presentation</vt:lpstr>
      <vt:lpstr>PowerPoint Presentation</vt:lpstr>
      <vt:lpstr>Workshops</vt:lpstr>
      <vt:lpstr>Workshops</vt:lpstr>
      <vt:lpstr>PowerPoint Presentation</vt:lpstr>
      <vt:lpstr>PowerPoint Presentation</vt:lpstr>
      <vt:lpstr>That’s a queue, not a stack! (FIFO)</vt:lpstr>
      <vt:lpstr>Work Step By Step</vt:lpstr>
      <vt:lpstr>Beware of Internals</vt:lpstr>
      <vt:lpstr>Why is Production Code Difficult?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tthias Hölzl</dc:creator>
  <cp:lastModifiedBy>Matthias Hölzl</cp:lastModifiedBy>
  <cp:revision>42</cp:revision>
  <dcterms:created xsi:type="dcterms:W3CDTF">2020-07-07T03:49:17Z</dcterms:created>
  <dcterms:modified xsi:type="dcterms:W3CDTF">2021-12-01T16:08:36Z</dcterms:modified>
</cp:coreProperties>
</file>